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6" r:id="rId3"/>
    <p:sldMasterId id="2147483682" r:id="rId4"/>
    <p:sldMasterId id="2147483691" r:id="rId5"/>
    <p:sldMasterId id="2147483709" r:id="rId6"/>
  </p:sldMasterIdLst>
  <p:notesMasterIdLst>
    <p:notesMasterId r:id="rId61"/>
  </p:notesMasterIdLst>
  <p:sldIdLst>
    <p:sldId id="340" r:id="rId7"/>
    <p:sldId id="314" r:id="rId8"/>
    <p:sldId id="518" r:id="rId9"/>
    <p:sldId id="265" r:id="rId10"/>
    <p:sldId id="266" r:id="rId11"/>
    <p:sldId id="269" r:id="rId12"/>
    <p:sldId id="462" r:id="rId13"/>
    <p:sldId id="476" r:id="rId14"/>
    <p:sldId id="477" r:id="rId15"/>
    <p:sldId id="480" r:id="rId16"/>
    <p:sldId id="481" r:id="rId17"/>
    <p:sldId id="405" r:id="rId18"/>
    <p:sldId id="406" r:id="rId19"/>
    <p:sldId id="407" r:id="rId20"/>
    <p:sldId id="497" r:id="rId21"/>
    <p:sldId id="519" r:id="rId22"/>
    <p:sldId id="341" r:id="rId23"/>
    <p:sldId id="295" r:id="rId24"/>
    <p:sldId id="500" r:id="rId25"/>
    <p:sldId id="507" r:id="rId26"/>
    <p:sldId id="435" r:id="rId27"/>
    <p:sldId id="508" r:id="rId28"/>
    <p:sldId id="387" r:id="rId29"/>
    <p:sldId id="455" r:id="rId30"/>
    <p:sldId id="389" r:id="rId31"/>
    <p:sldId id="501" r:id="rId32"/>
    <p:sldId id="503" r:id="rId33"/>
    <p:sldId id="504" r:id="rId34"/>
    <p:sldId id="502" r:id="rId35"/>
    <p:sldId id="390" r:id="rId36"/>
    <p:sldId id="479" r:id="rId37"/>
    <p:sldId id="505" r:id="rId38"/>
    <p:sldId id="294" r:id="rId39"/>
    <p:sldId id="296" r:id="rId40"/>
    <p:sldId id="285" r:id="rId41"/>
    <p:sldId id="464" r:id="rId42"/>
    <p:sldId id="279" r:id="rId43"/>
    <p:sldId id="289" r:id="rId44"/>
    <p:sldId id="298" r:id="rId45"/>
    <p:sldId id="281" r:id="rId46"/>
    <p:sldId id="290" r:id="rId47"/>
    <p:sldId id="511" r:id="rId48"/>
    <p:sldId id="512" r:id="rId49"/>
    <p:sldId id="514" r:id="rId50"/>
    <p:sldId id="516" r:id="rId51"/>
    <p:sldId id="517" r:id="rId52"/>
    <p:sldId id="515" r:id="rId53"/>
    <p:sldId id="280" r:id="rId54"/>
    <p:sldId id="284" r:id="rId55"/>
    <p:sldId id="374" r:id="rId56"/>
    <p:sldId id="426" r:id="rId57"/>
    <p:sldId id="427" r:id="rId58"/>
    <p:sldId id="428" r:id="rId59"/>
    <p:sldId id="429" r:id="rId6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on Clarke" initials="LE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7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79"/>
  </p:normalViewPr>
  <p:slideViewPr>
    <p:cSldViewPr snapToGrid="0" snapToObjects="1">
      <p:cViewPr varScale="1">
        <p:scale>
          <a:sx n="100" d="100"/>
          <a:sy n="100" d="100"/>
        </p:scale>
        <p:origin x="904" y="1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C1529-FA1F-9F42-9C21-65D27DBBFDF7}" type="datetimeFigureOut">
              <a:rPr lang="en-US" smtClean="0"/>
              <a:t>2/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D41D-197B-3346-85DF-288DC0E53D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72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Source:  https://www.iea.org/media/news/2015/news/151104_webarticle_CO2_FINAL.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A525F-B19F-43AB-8485-6C13A7BF50D0}" type="slidenum">
              <a:rPr lang="en-US" smtClean="0">
                <a:solidFill>
                  <a:prstClr val="black"/>
                </a:solidFill>
              </a:rPr>
              <a:pPr/>
              <a:t>4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721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2CE0E3-0AC8-7F46-9455-0050CF62EE86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521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600" y="2693314"/>
            <a:ext cx="10972800" cy="430887"/>
          </a:xfrm>
          <a:noFill/>
          <a:ln w="25400"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algn="l">
              <a:defRPr sz="28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3456801"/>
            <a:ext cx="10972800" cy="276999"/>
          </a:xfrm>
        </p:spPr>
        <p:txBody>
          <a:bodyPr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Name(S)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029200"/>
            <a:ext cx="109728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95999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676401"/>
            <a:ext cx="10972800" cy="4800599"/>
          </a:xfrm>
        </p:spPr>
        <p:txBody>
          <a:bodyPr lIns="0" tIns="0" rIns="0" bIns="0"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475151"/>
            <a:ext cx="8839200" cy="38472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84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Color Background +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4364AE-2992-4C59-BFC3-95113B746C9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17600" y="3272880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215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188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34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51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Color Background +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3F589BE-4EC2-DF4F-9D75-1E8273666669}" type="datetime4">
              <a:rPr lang="en-US" smtClean="0"/>
              <a:t>February 1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61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36352874-118B-E24F-968D-2511B069207B}" type="datetime4">
              <a:rPr lang="en-US" smtClean="0"/>
              <a:pPr/>
              <a:t>February 1,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4254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E95F552-8AF0-DD42-87C9-F351B1EED456}" type="datetime4">
              <a:rPr lang="en-US" smtClean="0"/>
              <a:pPr/>
              <a:t>February 1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3176200"/>
            <a:ext cx="10972800" cy="276999"/>
          </a:xfrm>
        </p:spPr>
        <p:txBody>
          <a:bodyPr lIns="0" tIns="0" rIns="0" bIns="0" anchor="ctr">
            <a:spAutoFit/>
          </a:bodyPr>
          <a:lstStyle>
            <a:lvl1pPr marL="0" indent="0" algn="ctr">
              <a:buNone/>
              <a:defRPr sz="1800" i="1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5486400"/>
            <a:ext cx="10972800" cy="21544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413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0762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799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D3ED6A-AF32-2143-8579-8C1FA3A63491}" type="datetime4">
              <a:rPr lang="en-US" smtClean="0"/>
              <a:pPr/>
              <a:t>February 1, 2023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809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0" y="2628782"/>
            <a:ext cx="12192000" cy="1600438"/>
          </a:xfrm>
          <a:noFill/>
          <a:ln w="25400">
            <a:noFill/>
          </a:ln>
          <a:effectLst/>
        </p:spPr>
        <p:txBody>
          <a:bodyPr lIns="457200" tIns="457200" rIns="457200" bIns="457200" anchor="ctr"/>
          <a:lstStyle>
            <a:lvl1pPr algn="l">
              <a:defRPr sz="44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4800600"/>
            <a:ext cx="10972800" cy="4572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cap="all" baseline="0">
                <a:solidFill>
                  <a:srgbClr val="7072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7484" y="5257800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540477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2/1/23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369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19217"/>
            <a:ext cx="10363200" cy="492443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75780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36352874-118B-E24F-968D-2511B069207B}" type="datetime4">
              <a:rPr lang="en-US" smtClean="0"/>
              <a:pPr/>
              <a:t>February 1,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816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E95F552-8AF0-DD42-87C9-F351B1EED456}" type="datetime4">
              <a:rPr lang="en-US" smtClean="0"/>
              <a:pPr/>
              <a:t>February 1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3176200"/>
            <a:ext cx="10972800" cy="276999"/>
          </a:xfrm>
        </p:spPr>
        <p:txBody>
          <a:bodyPr lIns="0" tIns="0" rIns="0" bIns="0" anchor="ctr">
            <a:spAutoFit/>
          </a:bodyPr>
          <a:lstStyle>
            <a:lvl1pPr marL="0" indent="0" algn="ctr">
              <a:buNone/>
              <a:defRPr sz="1800" i="1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5486400"/>
            <a:ext cx="10972800" cy="21544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5577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321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0242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799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D3ED6A-AF32-2143-8579-8C1FA3A63491}" type="datetime4">
              <a:rPr lang="en-US" smtClean="0"/>
              <a:pPr/>
              <a:t>February 1, 2023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365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19217"/>
            <a:ext cx="10363200" cy="492443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243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84AC7F8F-2E1D-4CAD-B247-7B9F94B1BB90}" type="datetimeFigureOut">
              <a:rPr lang="en-US" smtClean="0"/>
              <a:t>2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644364AE-2992-4C59-BFC3-95113B746C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6766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055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385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-Line Title + 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987426"/>
            <a:ext cx="12192000" cy="5870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6"/>
            <a:ext cx="8839200" cy="3847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2/1/23</a:t>
            </a:fld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28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3538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A70C5-D23F-4FDF-85AE-60DDCC4E8FF8}" type="datetimeFigureOut">
              <a:rPr lang="en-US" smtClean="0"/>
              <a:t>2/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78BB55-3590-449E-AE09-207C13D7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195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A70C5-D23F-4FDF-85AE-60DDCC4E8FF8}" type="datetimeFigureOut">
              <a:rPr lang="en-US" smtClean="0"/>
              <a:t>2/1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78BB55-3590-449E-AE09-207C13D7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4256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 userDrawn="1"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5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6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7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b="0">
                  <a:solidFill>
                    <a:srgbClr val="000000"/>
                  </a:solidFill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b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8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  <p:sp>
          <p:nvSpPr>
            <p:cNvPr id="9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1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84827" y="6428769"/>
            <a:ext cx="9207173" cy="429232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200">
              <a:solidFill>
                <a:srgbClr val="000000"/>
              </a:solidFill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b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6" y="2176939"/>
            <a:ext cx="6714779" cy="507831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6" y="3945699"/>
            <a:ext cx="6714779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2672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22E66C-A191-43FE-A013-1D6A4026A132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3749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60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09B947-984B-4627-B931-4E79D6CF4F69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02371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8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388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127021-FB5D-4531-9929-5CD64B51D7EA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32946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061" y="1535519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061" y="2175318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B547D61-3B30-4E6B-BFDB-DFED8A3A4D75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8506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B04B32-1979-4472-B5F6-2B1270D142D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2209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1E7368-0C8C-4C07-BA49-818503BC7E2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2578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0" y="2628782"/>
            <a:ext cx="12192000" cy="1600438"/>
          </a:xfrm>
          <a:noFill/>
          <a:ln w="25400">
            <a:noFill/>
          </a:ln>
          <a:effectLst/>
        </p:spPr>
        <p:txBody>
          <a:bodyPr lIns="457200" tIns="457200" rIns="457200" bIns="457200" anchor="ctr"/>
          <a:lstStyle>
            <a:lvl1pPr algn="l">
              <a:defRPr sz="44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4800600"/>
            <a:ext cx="10972800" cy="4572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cap="all" baseline="0">
                <a:solidFill>
                  <a:srgbClr val="7072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7484" y="5257800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540477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2/1/23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369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1127319"/>
            <a:ext cx="4010725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52" y="273738"/>
            <a:ext cx="6816289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060" y="1435095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EF0C68-FC6F-4174-A149-ED285D48193A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02874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8725" y="5060059"/>
            <a:ext cx="73152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8725" y="612264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8725" y="5367835"/>
            <a:ext cx="73152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F7FDE8-4BE7-40D5-901F-18CEFFBB1C9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36899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88E7D6-CD4D-4645-864A-24EDF4F5C2C1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14131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302695" y="234865"/>
            <a:ext cx="584775" cy="300300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984" y="234865"/>
            <a:ext cx="8587315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464447-1826-4E65-B87E-1BE108094EE8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6345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8044"/>
            <a:ext cx="12192000" cy="58699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1" y="292453"/>
            <a:ext cx="8839200" cy="384721"/>
          </a:xfrm>
        </p:spPr>
        <p:txBody>
          <a:bodyPr anchor="ctr"/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060" y="6355880"/>
            <a:ext cx="2844440" cy="366062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70727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0301CA-DDD1-48AD-AC0A-46004690C99F}" type="datetime1">
              <a:rPr lang="en-US" altLang="en-US" sz="1200" b="1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/1/23</a:t>
            </a:fld>
            <a:endParaRPr lang="en-US" altLang="en-US" sz="1200" b="1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231" y="6355880"/>
            <a:ext cx="3859539" cy="366062"/>
          </a:xfrm>
          <a:prstGeom prst="rect">
            <a:avLst/>
          </a:prstGeom>
        </p:spPr>
        <p:txBody>
          <a:bodyPr lIns="93296" tIns="46648" rIns="93296" bIns="46648"/>
          <a:lstStyle>
            <a:lvl1pPr eaLnBrk="1" hangingPunct="1">
              <a:defRPr>
                <a:solidFill>
                  <a:srgbClr val="707276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500" y="6355880"/>
            <a:ext cx="2844440" cy="366062"/>
          </a:xfr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FBD72473-4468-432A-AF85-42F99C2C96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18455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1" y="356613"/>
            <a:ext cx="8839200" cy="384684"/>
          </a:xfrm>
        </p:spPr>
        <p:txBody>
          <a:bodyPr/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9"/>
            <a:ext cx="10972800" cy="1261804"/>
          </a:xfrm>
        </p:spPr>
        <p:txBody>
          <a:bodyPr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060" y="6355880"/>
            <a:ext cx="2844440" cy="366062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70727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8A9CEF-9D31-4BD3-8178-C4A97CB44859}" type="datetime4">
              <a:rPr lang="en-US" altLang="en-US" sz="1200" b="1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February 1, 2023</a:t>
            </a:fld>
            <a:endParaRPr lang="en-US" altLang="en-US" sz="1200" b="1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231" y="6355880"/>
            <a:ext cx="3859539" cy="366062"/>
          </a:xfrm>
          <a:prstGeom prst="rect">
            <a:avLst/>
          </a:prstGeom>
        </p:spPr>
        <p:txBody>
          <a:bodyPr lIns="93296" tIns="46648" rIns="93296" bIns="46648"/>
          <a:lstStyle>
            <a:lvl1pPr eaLnBrk="1" hangingPunct="1">
              <a:defRPr>
                <a:solidFill>
                  <a:srgbClr val="707276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500" y="6355880"/>
            <a:ext cx="2844440" cy="366062"/>
          </a:xfr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983B07DB-37D4-44A4-B988-C883CBC8758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936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600" y="2693315"/>
            <a:ext cx="10972800" cy="430887"/>
          </a:xfrm>
          <a:noFill/>
          <a:ln w="25400">
            <a:noFill/>
          </a:ln>
          <a:effectLst/>
        </p:spPr>
        <p:txBody>
          <a:bodyPr anchor="b"/>
          <a:lstStyle>
            <a:lvl1pPr algn="l">
              <a:defRPr sz="28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3456802"/>
            <a:ext cx="10972800" cy="282625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029200"/>
            <a:ext cx="10972800" cy="219820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6735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2576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188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34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A852BC1-FCD8-4529-A352-2A00F87F5F39}" type="datetimeFigureOut">
              <a:rPr lang="en-US" smtClean="0"/>
              <a:t>2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1302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67" y="1676400"/>
            <a:ext cx="5355167" cy="3575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4" y="1676400"/>
            <a:ext cx="5357284" cy="3575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532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5184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514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4635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611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9403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7086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7084" y="460376"/>
            <a:ext cx="2734733" cy="4791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2884" y="460376"/>
            <a:ext cx="8001000" cy="4791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5950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884" y="460375"/>
            <a:ext cx="10938933" cy="987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56167" y="1676400"/>
            <a:ext cx="5355167" cy="3575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4" y="1676400"/>
            <a:ext cx="5357284" cy="3575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475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73078"/>
            <a:ext cx="10363200" cy="384721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4755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4800600"/>
          </a:xfrm>
        </p:spPr>
        <p:txBody>
          <a:bodyPr lIns="0" tIns="0" rIns="0" bIns="0"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570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41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75151"/>
            <a:ext cx="8839200" cy="38472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945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tif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6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latinum_PowerPoint_Background_08-19-2011.jp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4343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rgbClr val="707276"/>
                </a:solidFill>
                <a:latin typeface="Arial"/>
                <a:cs typeface="Arial"/>
              </a:defRPr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JGCRI_LogoLockup-01.tif"/>
          <p:cNvPicPr>
            <a:picLocks noChangeAspect="1"/>
          </p:cNvPicPr>
          <p:nvPr/>
        </p:nvPicPr>
        <p:blipFill rotWithShape="1">
          <a:blip r:embed="rId9"/>
          <a:srcRect l="13676" t="25457" r="12318" b="20378"/>
          <a:stretch/>
        </p:blipFill>
        <p:spPr>
          <a:xfrm>
            <a:off x="7834488" y="5926666"/>
            <a:ext cx="4154313" cy="85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1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0" r:id="rId6"/>
  </p:sldLayoutIdLs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11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2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3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latinum_PowerPoint_Background_08-19-2011.jp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47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4976" y="128017"/>
            <a:ext cx="1926336" cy="72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040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0" r:id="rId3"/>
    <p:sldLayoutId id="2147483671" r:id="rId4"/>
    <p:sldLayoutId id="2147483675" r:id="rId5"/>
    <p:sldLayoutId id="2147483706" r:id="rId6"/>
    <p:sldLayoutId id="2147483707" r:id="rId7"/>
    <p:sldLayoutId id="2147483708" r:id="rId8"/>
    <p:sldLayoutId id="2147483722" r:id="rId9"/>
  </p:sldLayoutIdLs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0"/>
        </a:spcBef>
        <a:buSzPct val="100000"/>
        <a:buFontTx/>
        <a:buBlip>
          <a:blip r:embed="rId13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ts val="0"/>
        </a:spcBef>
        <a:buSzPct val="100000"/>
        <a:buFontTx/>
        <a:buBlip>
          <a:blip r:embed="rId14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ts val="0"/>
        </a:spcBef>
        <a:buSzPct val="100000"/>
        <a:buFontTx/>
        <a:buBlip>
          <a:blip r:embed="rId15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ts val="0"/>
        </a:spcBef>
        <a:buSzPct val="100000"/>
        <a:buFontTx/>
        <a:buBlip>
          <a:blip r:embed="rId16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ts val="0"/>
        </a:spcBef>
        <a:buSzPct val="100000"/>
        <a:buFontTx/>
        <a:buBlip>
          <a:blip r:embed="rId13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94976" y="128017"/>
            <a:ext cx="1926336" cy="72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86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8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9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1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8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28800"/>
            <a:ext cx="10972800" cy="4343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06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9" r:id="rId4"/>
    <p:sldLayoutId id="2147483686" r:id="rId5"/>
    <p:sldLayoutId id="2147483687" r:id="rId6"/>
    <p:sldLayoutId id="2147483688" r:id="rId7"/>
    <p:sldLayoutId id="2147483723" r:id="rId8"/>
    <p:sldLayoutId id="2147483724" r:id="rId9"/>
    <p:sldLayoutId id="2147483725" r:id="rId10"/>
    <p:sldLayoutId id="2147483729" r:id="rId11"/>
    <p:sldLayoutId id="2147483730" r:id="rId12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4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6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7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4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00" b="0">
              <a:solidFill>
                <a:srgbClr val="000000"/>
              </a:solidFill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29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61986" y="27537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29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4973989" cy="2170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61986" y="6203623"/>
            <a:ext cx="11630453" cy="518318"/>
            <a:chOff x="75" y="3830"/>
            <a:chExt cx="5385" cy="320"/>
          </a:xfrm>
        </p:grpSpPr>
        <p:sp>
          <p:nvSpPr>
            <p:cNvPr id="103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03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b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036" name="AutoShape 249" hidden="1"/>
            <p:cNvCxnSpPr>
              <a:cxnSpLocks noChangeShapeType="1"/>
              <a:stCxn id="1037" idx="4"/>
              <a:endCxn id="10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37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136" y="6566446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b="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3621D6D-EB74-44D9-B68D-517D91939850}" type="slidenum">
              <a:rPr lang="en-US" alt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altLang="en-US">
                <a:ea typeface="MS PGothic" pitchFamily="34" charset="-128"/>
              </a:rPr>
              <a:t> </a:t>
            </a:r>
          </a:p>
        </p:txBody>
      </p:sp>
      <p:sp>
        <p:nvSpPr>
          <p:cNvPr id="103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4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67273" y="6534855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558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PNNL_Logo_2-Color_v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5951" y="5849938"/>
            <a:ext cx="2438400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2884" y="460375"/>
            <a:ext cx="10938933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6167" y="1676400"/>
            <a:ext cx="10915651" cy="357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241300" y="6424613"/>
            <a:ext cx="812800" cy="2286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tabLst>
                <a:tab pos="457200" algn="l"/>
                <a:tab pos="800100" algn="l"/>
                <a:tab pos="1257300" algn="l"/>
              </a:tabLst>
              <a:defRPr sz="900">
                <a:solidFill>
                  <a:srgbClr val="777777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774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chemeClr val="folHlink"/>
        </a:buClr>
        <a:buBlip>
          <a:blip r:embed="rId15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chemeClr val="tx2"/>
        </a:buClr>
        <a:buSzPct val="80000"/>
        <a:buBlip>
          <a:blip r:embed="rId16"/>
        </a:buBlip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rgbClr val="737373"/>
        </a:buClr>
        <a:buSzPct val="60000"/>
        <a:buBlip>
          <a:blip r:embed="rId17"/>
        </a:buBlip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Blip>
          <a:blip r:embed="rId18"/>
        </a:buBlip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cience.nasa.gov/earth-science/oceanography/ocean-earth-system/ocean-carbon-cycle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0.xml"/><Relationship Id="rId5" Type="http://schemas.openxmlformats.org/officeDocument/2006/relationships/hyperlink" Target="https://science.nasa.gov/earth-science/oceanography/ocean-earth-system/ocean-carbon-cycle" TargetMode="External"/><Relationship Id="rId4" Type="http://schemas.openxmlformats.org/officeDocument/2006/relationships/hyperlink" Target="https://www.nationalobserver.com/2015/05/14/news/climate-number-changes-everything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www.econ.yale.edu/~nordhaus/homepage/Web-DICE-2013-April.htm" TargetMode="External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2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www.ipcc.ch/report/graphics/index.php?t=Assessment%20Reports&amp;r=AR5%20-%20WG3&amp;f=Technical%20Summary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iasa.ac.at/web/home/resources/publications/options/Sustainable.en.html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pcc.ch/report/graphics/index.php?t=Assessment%20Reports&amp;r=AR5%20-%20WG3&amp;f=Technical%20Summary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Title 1"/>
          <p:cNvSpPr>
            <a:spLocks noGrp="1"/>
          </p:cNvSpPr>
          <p:nvPr>
            <p:ph type="ctrTitle"/>
          </p:nvPr>
        </p:nvSpPr>
        <p:spPr>
          <a:xfrm>
            <a:off x="841509" y="1395413"/>
            <a:ext cx="10363200" cy="1470025"/>
          </a:xfrm>
          <a:ln w="9525"/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4000" dirty="0"/>
              <a:t>Foundations of Integrated Assessment Modeling</a:t>
            </a:r>
            <a:br>
              <a:rPr lang="en-US" altLang="en-US" sz="4000" dirty="0"/>
            </a:br>
            <a:r>
              <a:rPr lang="en-US" altLang="en-US" sz="2000" b="0" i="1" dirty="0"/>
              <a:t>A brief history with examples</a:t>
            </a:r>
            <a:endParaRPr lang="en-US" altLang="en-US" sz="4000" b="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520253"/>
            <a:ext cx="8534400" cy="65304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dirty="0"/>
              <a:t>Jae Edmonds</a:t>
            </a:r>
          </a:p>
        </p:txBody>
      </p:sp>
      <p:sp>
        <p:nvSpPr>
          <p:cNvPr id="78851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781300" y="4423592"/>
            <a:ext cx="6629400" cy="439737"/>
          </a:xfrm>
        </p:spPr>
        <p:txBody>
          <a:bodyPr/>
          <a:lstStyle/>
          <a:p>
            <a:pPr marL="0" indent="0" algn="ctr">
              <a:spcBef>
                <a:spcPct val="0"/>
              </a:spcBef>
              <a:buNone/>
            </a:pPr>
            <a:r>
              <a:rPr lang="en-US" altLang="en-US"/>
              <a:t>February 01, 2023</a:t>
            </a:r>
            <a:endParaRPr lang="en-US" altLang="en-US" dirty="0"/>
          </a:p>
          <a:p>
            <a:pPr marL="0" indent="0">
              <a:spcBef>
                <a:spcPct val="0"/>
              </a:spcBef>
              <a:buNone/>
            </a:pPr>
            <a:endParaRPr lang="en-US" altLang="en-US" dirty="0"/>
          </a:p>
        </p:txBody>
      </p:sp>
      <p:pic>
        <p:nvPicPr>
          <p:cNvPr id="78852" name="Picture 3" descr="Screen Shot 2015-08-31 at 1.17.32 P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768" y="5766668"/>
            <a:ext cx="3972232" cy="1091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674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36077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Carbon Reservoir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59" y="965937"/>
            <a:ext cx="7841882" cy="55135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6596390"/>
            <a:ext cx="61350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s://science.nasa.gov/earth-science/oceanography/ocean-earth-system/ocean-carbon-cycle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9164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409"/>
            <a:ext cx="10947094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Fossil Fuel Reserves versus Resourc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96" y="2311982"/>
            <a:ext cx="4038499" cy="28394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4178" y="849057"/>
            <a:ext cx="7438103" cy="55970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322704" y="6468812"/>
            <a:ext cx="59410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4"/>
              </a:rPr>
              <a:t>https://www.nationalobserver.com/2015/05/14/news/climate-number-changes-everything</a:t>
            </a:r>
            <a:r>
              <a:rPr lang="en-US" sz="1100" dirty="0"/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40511" y="5168980"/>
            <a:ext cx="33435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5"/>
              </a:rPr>
              <a:t>https://science.nasa.gov/earth-science/oceanography/ocean-earth-system/ocean-carbon-cycle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3767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356613"/>
            <a:ext cx="10972800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A brief comment of greenhouse gas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487275"/>
            <a:ext cx="10972800" cy="4715137"/>
          </a:xfrm>
        </p:spPr>
        <p:txBody>
          <a:bodyPr/>
          <a:lstStyle/>
          <a:p>
            <a:r>
              <a:rPr lang="en-US" sz="2800" dirty="0"/>
              <a:t>Comparing greenhouse gas emissions is REALLY difficult.</a:t>
            </a:r>
          </a:p>
          <a:p>
            <a:pPr lvl="1"/>
            <a:r>
              <a:rPr lang="en-US" sz="2400" dirty="0"/>
              <a:t>CO</a:t>
            </a:r>
            <a:r>
              <a:rPr lang="en-US" sz="2400" baseline="-25000" dirty="0"/>
              <a:t>2</a:t>
            </a:r>
            <a:r>
              <a:rPr lang="en-US" sz="2400" dirty="0"/>
              <a:t> and the other gases behave differently</a:t>
            </a:r>
          </a:p>
          <a:p>
            <a:endParaRPr lang="en-US" sz="2800" dirty="0"/>
          </a:p>
          <a:p>
            <a:r>
              <a:rPr lang="en-US" sz="2800" dirty="0"/>
              <a:t>Greenhouse gases fall into three categories</a:t>
            </a:r>
          </a:p>
          <a:p>
            <a:pPr lvl="1"/>
            <a:r>
              <a:rPr lang="en-US" sz="2400" dirty="0"/>
              <a:t>Short-lived species, with atmospheric sinks, e.g. CO, NO</a:t>
            </a:r>
            <a:r>
              <a:rPr lang="en-US" sz="2400" baseline="-25000" dirty="0"/>
              <a:t>x</a:t>
            </a:r>
            <a:r>
              <a:rPr lang="en-US" sz="2400" dirty="0"/>
              <a:t>, CH</a:t>
            </a:r>
            <a:r>
              <a:rPr lang="en-US" sz="2400" baseline="-25000" dirty="0"/>
              <a:t>4</a:t>
            </a:r>
            <a:r>
              <a:rPr lang="en-US" sz="2400" dirty="0"/>
              <a:t>, and N</a:t>
            </a:r>
            <a:r>
              <a:rPr lang="en-US" sz="2400" baseline="-25000" dirty="0"/>
              <a:t>2</a:t>
            </a:r>
            <a:r>
              <a:rPr lang="en-US" sz="2400" dirty="0"/>
              <a:t>O.</a:t>
            </a:r>
          </a:p>
          <a:p>
            <a:pPr lvl="2"/>
            <a:r>
              <a:rPr lang="en-US" sz="2000" dirty="0"/>
              <a:t>For these gases constant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</a:rPr>
              <a:t>emissions</a:t>
            </a:r>
            <a:r>
              <a:rPr lang="en-US" sz="2000" dirty="0"/>
              <a:t> means constant </a:t>
            </a:r>
            <a:r>
              <a:rPr lang="en-US" sz="2000" dirty="0">
                <a:solidFill>
                  <a:schemeClr val="accent1"/>
                </a:solidFill>
              </a:rPr>
              <a:t>concentration</a:t>
            </a:r>
            <a:r>
              <a:rPr lang="en-US" sz="2000" dirty="0"/>
              <a:t>.</a:t>
            </a:r>
          </a:p>
          <a:p>
            <a:pPr lvl="2"/>
            <a:r>
              <a:rPr lang="en-US" sz="2000" dirty="0"/>
              <a:t>C = </a:t>
            </a:r>
            <a:r>
              <a:rPr lang="en-US" sz="2000" dirty="0" err="1">
                <a:latin typeface="Symbol" panose="05050102010706020507" pitchFamily="18" charset="2"/>
              </a:rPr>
              <a:t>l</a:t>
            </a:r>
            <a:r>
              <a:rPr lang="en-US" sz="2000" dirty="0" err="1"/>
              <a:t>E</a:t>
            </a:r>
            <a:r>
              <a:rPr lang="en-US" sz="2000" dirty="0"/>
              <a:t>, where </a:t>
            </a:r>
            <a:r>
              <a:rPr lang="en-US" sz="2000" dirty="0">
                <a:latin typeface="Symbol" panose="05050102010706020507" pitchFamily="18" charset="2"/>
              </a:rPr>
              <a:t>l</a:t>
            </a:r>
            <a:r>
              <a:rPr lang="en-US" sz="2000" dirty="0"/>
              <a:t> is the inverse of the annual rate of atmospheric removal.</a:t>
            </a:r>
          </a:p>
          <a:p>
            <a:pPr lvl="1"/>
            <a:r>
              <a:rPr lang="en-US" sz="2400" dirty="0"/>
              <a:t> Very long lived species for which removal atmospheric rates are near zero, e.g. CFCs, and other manufactured gases.</a:t>
            </a:r>
          </a:p>
          <a:p>
            <a:pPr lvl="2"/>
            <a:r>
              <a:rPr lang="en-US" sz="2000" dirty="0"/>
              <a:t>For these gases </a:t>
            </a:r>
            <a:r>
              <a:rPr lang="en-US" sz="2000" dirty="0">
                <a:solidFill>
                  <a:schemeClr val="accent1"/>
                </a:solidFill>
              </a:rPr>
              <a:t>concentrations</a:t>
            </a:r>
            <a:r>
              <a:rPr lang="en-US" sz="2000" dirty="0"/>
              <a:t> rise linearly with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</a:rPr>
              <a:t>emissions</a:t>
            </a:r>
            <a:r>
              <a:rPr lang="en-US" sz="2000" dirty="0"/>
              <a:t>.</a:t>
            </a:r>
          </a:p>
          <a:p>
            <a:pPr lvl="1"/>
            <a:r>
              <a:rPr lang="en-US" sz="2400" dirty="0"/>
              <a:t>And then there’s CO</a:t>
            </a:r>
            <a:r>
              <a:rPr lang="en-US" sz="2400" baseline="-25000" dirty="0"/>
              <a:t>2</a:t>
            </a:r>
            <a:r>
              <a:rPr lang="en-US" sz="2400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726812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10" name="Rectangle 6"/>
          <p:cNvSpPr>
            <a:spLocks noGrp="1" noChangeArrowheads="1"/>
          </p:cNvSpPr>
          <p:nvPr>
            <p:ph type="title"/>
          </p:nvPr>
        </p:nvSpPr>
        <p:spPr>
          <a:xfrm>
            <a:off x="627961" y="295214"/>
            <a:ext cx="10983817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The Carbon Cycle</a:t>
            </a:r>
          </a:p>
        </p:txBody>
      </p:sp>
      <p:sp>
        <p:nvSpPr>
          <p:cNvPr id="405506" name="Rectangle 2"/>
          <p:cNvSpPr>
            <a:spLocks noChangeArrowheads="1"/>
          </p:cNvSpPr>
          <p:nvPr/>
        </p:nvSpPr>
        <p:spPr bwMode="auto">
          <a:xfrm>
            <a:off x="3927476" y="3190875"/>
            <a:ext cx="1190625" cy="2179638"/>
          </a:xfrm>
          <a:prstGeom prst="rect">
            <a:avLst/>
          </a:prstGeom>
          <a:gradFill rotWithShape="1">
            <a:gsLst>
              <a:gs pos="0">
                <a:srgbClr val="CCECFF"/>
              </a:gs>
              <a:gs pos="100000">
                <a:srgbClr val="CCECFF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7" name="Rectangle 3"/>
          <p:cNvSpPr>
            <a:spLocks noChangeArrowheads="1"/>
          </p:cNvSpPr>
          <p:nvPr/>
        </p:nvSpPr>
        <p:spPr bwMode="auto">
          <a:xfrm>
            <a:off x="5891213" y="3479801"/>
            <a:ext cx="4151312" cy="1871663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8" name="Rectangle 4"/>
          <p:cNvSpPr>
            <a:spLocks noChangeArrowheads="1"/>
          </p:cNvSpPr>
          <p:nvPr/>
        </p:nvSpPr>
        <p:spPr bwMode="auto">
          <a:xfrm>
            <a:off x="3925888" y="3516314"/>
            <a:ext cx="1193800" cy="1844675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9" name="Rectangle 5"/>
          <p:cNvSpPr>
            <a:spLocks noChangeArrowheads="1"/>
          </p:cNvSpPr>
          <p:nvPr/>
        </p:nvSpPr>
        <p:spPr bwMode="auto">
          <a:xfrm>
            <a:off x="5891213" y="3059113"/>
            <a:ext cx="4151312" cy="22780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1" name="Rectangle 7"/>
          <p:cNvSpPr>
            <a:spLocks noChangeArrowheads="1"/>
          </p:cNvSpPr>
          <p:nvPr/>
        </p:nvSpPr>
        <p:spPr bwMode="auto">
          <a:xfrm>
            <a:off x="3922714" y="3062289"/>
            <a:ext cx="1190625" cy="2293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2" name="Rectangle 8"/>
          <p:cNvSpPr>
            <a:spLocks noChangeArrowheads="1"/>
          </p:cNvSpPr>
          <p:nvPr/>
        </p:nvSpPr>
        <p:spPr bwMode="auto">
          <a:xfrm>
            <a:off x="5895976" y="3744914"/>
            <a:ext cx="4151313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3" name="Rectangle 9"/>
          <p:cNvSpPr>
            <a:spLocks noChangeArrowheads="1"/>
          </p:cNvSpPr>
          <p:nvPr/>
        </p:nvSpPr>
        <p:spPr bwMode="auto">
          <a:xfrm>
            <a:off x="3932239" y="3765551"/>
            <a:ext cx="1190625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4" name="Freeform 10"/>
          <p:cNvSpPr>
            <a:spLocks/>
          </p:cNvSpPr>
          <p:nvPr/>
        </p:nvSpPr>
        <p:spPr bwMode="auto">
          <a:xfrm>
            <a:off x="4386263" y="5314950"/>
            <a:ext cx="4051300" cy="927100"/>
          </a:xfrm>
          <a:custGeom>
            <a:avLst/>
            <a:gdLst>
              <a:gd name="T0" fmla="*/ 0 w 2552"/>
              <a:gd name="T1" fmla="*/ 17 h 584"/>
              <a:gd name="T2" fmla="*/ 0 w 2552"/>
              <a:gd name="T3" fmla="*/ 584 h 584"/>
              <a:gd name="T4" fmla="*/ 2551 w 2552"/>
              <a:gd name="T5" fmla="*/ 584 h 584"/>
              <a:gd name="T6" fmla="*/ 2552 w 2552"/>
              <a:gd name="T7" fmla="*/ 0 h 584"/>
              <a:gd name="T8" fmla="*/ 2475 w 2552"/>
              <a:gd name="T9" fmla="*/ 0 h 584"/>
              <a:gd name="T10" fmla="*/ 2475 w 2552"/>
              <a:gd name="T11" fmla="*/ 515 h 584"/>
              <a:gd name="T12" fmla="*/ 71 w 2552"/>
              <a:gd name="T13" fmla="*/ 507 h 584"/>
              <a:gd name="T14" fmla="*/ 71 w 2552"/>
              <a:gd name="T15" fmla="*/ 16 h 584"/>
              <a:gd name="T16" fmla="*/ 0 w 2552"/>
              <a:gd name="T17" fmla="*/ 17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52" h="584">
                <a:moveTo>
                  <a:pt x="0" y="17"/>
                </a:moveTo>
                <a:lnTo>
                  <a:pt x="0" y="584"/>
                </a:lnTo>
                <a:lnTo>
                  <a:pt x="2551" y="584"/>
                </a:lnTo>
                <a:lnTo>
                  <a:pt x="2552" y="0"/>
                </a:lnTo>
                <a:lnTo>
                  <a:pt x="2475" y="0"/>
                </a:lnTo>
                <a:lnTo>
                  <a:pt x="2475" y="515"/>
                </a:lnTo>
                <a:lnTo>
                  <a:pt x="71" y="507"/>
                </a:lnTo>
                <a:lnTo>
                  <a:pt x="71" y="16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6699FF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5" name="Text Box 11"/>
          <p:cNvSpPr txBox="1">
            <a:spLocks noChangeArrowheads="1"/>
          </p:cNvSpPr>
          <p:nvPr/>
        </p:nvSpPr>
        <p:spPr bwMode="auto">
          <a:xfrm>
            <a:off x="3890963" y="4330700"/>
            <a:ext cx="120911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600">
                <a:solidFill>
                  <a:schemeClr val="bg1"/>
                </a:solidFill>
              </a:rPr>
              <a:t>Atmosphere</a:t>
            </a:r>
          </a:p>
        </p:txBody>
      </p:sp>
      <p:sp>
        <p:nvSpPr>
          <p:cNvPr id="405516" name="Text Box 12"/>
          <p:cNvSpPr txBox="1">
            <a:spLocks noChangeArrowheads="1"/>
          </p:cNvSpPr>
          <p:nvPr/>
        </p:nvSpPr>
        <p:spPr bwMode="auto">
          <a:xfrm>
            <a:off x="7323139" y="4181476"/>
            <a:ext cx="124745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3200">
                <a:solidFill>
                  <a:schemeClr val="bg1"/>
                </a:solidFill>
              </a:rPr>
              <a:t>Ocean</a:t>
            </a:r>
          </a:p>
        </p:txBody>
      </p:sp>
      <p:sp>
        <p:nvSpPr>
          <p:cNvPr id="405517" name="Line 13"/>
          <p:cNvSpPr>
            <a:spLocks noChangeShapeType="1"/>
          </p:cNvSpPr>
          <p:nvPr/>
        </p:nvSpPr>
        <p:spPr bwMode="auto">
          <a:xfrm flipH="1" flipV="1">
            <a:off x="8382000" y="34750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18" name="Text Box 14"/>
          <p:cNvSpPr txBox="1">
            <a:spLocks noChangeArrowheads="1"/>
          </p:cNvSpPr>
          <p:nvPr/>
        </p:nvSpPr>
        <p:spPr bwMode="auto">
          <a:xfrm>
            <a:off x="627961" y="1464035"/>
            <a:ext cx="51421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/>
            <a:r>
              <a:rPr lang="en-US" altLang="en-US" dirty="0"/>
              <a:t>Start with the Atmosphere and Ocean in Equilibrium.</a:t>
            </a:r>
          </a:p>
        </p:txBody>
      </p:sp>
      <p:sp>
        <p:nvSpPr>
          <p:cNvPr id="405519" name="Text Box 15"/>
          <p:cNvSpPr txBox="1">
            <a:spLocks noChangeArrowheads="1"/>
          </p:cNvSpPr>
          <p:nvPr/>
        </p:nvSpPr>
        <p:spPr bwMode="auto">
          <a:xfrm>
            <a:off x="627435" y="3580885"/>
            <a:ext cx="27876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/>
            <a:r>
              <a:rPr lang="en-US" altLang="en-US" dirty="0"/>
              <a:t>Add CO</a:t>
            </a:r>
            <a:r>
              <a:rPr lang="en-US" altLang="en-US" baseline="-25000" dirty="0"/>
              <a:t>2</a:t>
            </a:r>
            <a:r>
              <a:rPr lang="en-US" altLang="en-US" dirty="0"/>
              <a:t> to the Atmosphere</a:t>
            </a:r>
          </a:p>
        </p:txBody>
      </p:sp>
      <p:sp>
        <p:nvSpPr>
          <p:cNvPr id="405520" name="AutoShape 16"/>
          <p:cNvSpPr>
            <a:spLocks noChangeArrowheads="1"/>
          </p:cNvSpPr>
          <p:nvPr/>
        </p:nvSpPr>
        <p:spPr bwMode="auto">
          <a:xfrm rot="3799962">
            <a:off x="3547269" y="2305844"/>
            <a:ext cx="1138238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21" name="Text Box 17"/>
          <p:cNvSpPr txBox="1">
            <a:spLocks noChangeArrowheads="1"/>
          </p:cNvSpPr>
          <p:nvPr/>
        </p:nvSpPr>
        <p:spPr bwMode="auto">
          <a:xfrm rot="-1519377">
            <a:off x="1779588" y="1851026"/>
            <a:ext cx="257016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4000">
                <a:solidFill>
                  <a:srgbClr val="FF0000"/>
                </a:solidFill>
              </a:rPr>
              <a:t>CO</a:t>
            </a:r>
            <a:r>
              <a:rPr lang="en-US" altLang="en-US" sz="4000" baseline="-25000">
                <a:solidFill>
                  <a:srgbClr val="FF0000"/>
                </a:solidFill>
              </a:rPr>
              <a:t>2 </a:t>
            </a:r>
            <a:r>
              <a:rPr lang="en-US" altLang="en-US" sz="4000">
                <a:solidFill>
                  <a:srgbClr val="FF0000"/>
                </a:solidFill>
              </a:rPr>
              <a:t>Emissions</a:t>
            </a:r>
          </a:p>
        </p:txBody>
      </p:sp>
      <p:sp>
        <p:nvSpPr>
          <p:cNvPr id="405522" name="Text Box 18"/>
          <p:cNvSpPr txBox="1">
            <a:spLocks noChangeArrowheads="1"/>
          </p:cNvSpPr>
          <p:nvPr/>
        </p:nvSpPr>
        <p:spPr bwMode="auto">
          <a:xfrm>
            <a:off x="638330" y="4774405"/>
            <a:ext cx="323945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dirty="0"/>
              <a:t>CO</a:t>
            </a:r>
            <a:r>
              <a:rPr lang="en-US" altLang="en-US" baseline="-25000" dirty="0"/>
              <a:t>2</a:t>
            </a:r>
            <a:r>
              <a:rPr lang="en-US" altLang="en-US" dirty="0"/>
              <a:t> is transferred from the Atmosphere to the Ocean until an equilibrium is restored.</a:t>
            </a:r>
          </a:p>
        </p:txBody>
      </p:sp>
      <p:sp>
        <p:nvSpPr>
          <p:cNvPr id="405523" name="Line 19"/>
          <p:cNvSpPr>
            <a:spLocks noChangeShapeType="1"/>
          </p:cNvSpPr>
          <p:nvPr/>
        </p:nvSpPr>
        <p:spPr bwMode="auto">
          <a:xfrm>
            <a:off x="4533900" y="3167063"/>
            <a:ext cx="12700" cy="328612"/>
          </a:xfrm>
          <a:prstGeom prst="line">
            <a:avLst/>
          </a:prstGeom>
          <a:noFill/>
          <a:ln w="9525">
            <a:solidFill>
              <a:srgbClr val="000066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4" name="Line 20"/>
          <p:cNvSpPr>
            <a:spLocks noChangeShapeType="1"/>
          </p:cNvSpPr>
          <p:nvPr/>
        </p:nvSpPr>
        <p:spPr bwMode="auto">
          <a:xfrm>
            <a:off x="4443413" y="5051426"/>
            <a:ext cx="0" cy="84137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5" name="Line 21"/>
          <p:cNvSpPr>
            <a:spLocks noChangeShapeType="1"/>
          </p:cNvSpPr>
          <p:nvPr/>
        </p:nvSpPr>
        <p:spPr bwMode="auto">
          <a:xfrm flipH="1" flipV="1">
            <a:off x="8359775" y="5056189"/>
            <a:ext cx="14288" cy="7699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6" name="Line 22"/>
          <p:cNvSpPr>
            <a:spLocks noChangeShapeType="1"/>
          </p:cNvSpPr>
          <p:nvPr/>
        </p:nvSpPr>
        <p:spPr bwMode="auto">
          <a:xfrm rot="5400000" flipV="1">
            <a:off x="6461126" y="4575176"/>
            <a:ext cx="0" cy="3222625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F0CA1A-7C34-4CB2-98DE-327CA4606BFF}"/>
              </a:ext>
            </a:extLst>
          </p:cNvPr>
          <p:cNvSpPr txBox="1"/>
          <p:nvPr/>
        </p:nvSpPr>
        <p:spPr>
          <a:xfrm>
            <a:off x="726841" y="1052512"/>
            <a:ext cx="107857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1800" dirty="0"/>
              <a:t>Cumulative emissions of CO</a:t>
            </a:r>
            <a:r>
              <a:rPr lang="en-US" altLang="en-US" sz="1800" baseline="-25000" dirty="0"/>
              <a:t>2</a:t>
            </a:r>
            <a:r>
              <a:rPr lang="en-US" altLang="en-US" sz="1800" dirty="0"/>
              <a:t> determine steady-state CO</a:t>
            </a:r>
            <a:r>
              <a:rPr lang="en-US" altLang="en-US" sz="1800" baseline="-25000" dirty="0"/>
              <a:t>2</a:t>
            </a:r>
            <a:r>
              <a:rPr lang="en-US" altLang="en-US" sz="1800" dirty="0"/>
              <a:t> concentratio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38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5506" grpId="0" animBg="1"/>
      <p:bldP spid="405507" grpId="0" animBg="1"/>
      <p:bldP spid="405508" grpId="0" animBg="1"/>
      <p:bldP spid="405517" grpId="0" animBg="1"/>
      <p:bldP spid="405518" grpId="0"/>
      <p:bldP spid="405519" grpId="0"/>
      <p:bldP spid="405519" grpId="1"/>
      <p:bldP spid="405520" grpId="0" animBg="1"/>
      <p:bldP spid="405521" grpId="0"/>
      <p:bldP spid="405522" grpId="0"/>
      <p:bldP spid="405523" grpId="0" animBg="1"/>
      <p:bldP spid="405524" grpId="0" animBg="1"/>
      <p:bldP spid="405525" grpId="0" animBg="1"/>
      <p:bldP spid="40552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460" name="Rectangle 4"/>
          <p:cNvSpPr>
            <a:spLocks noGrp="1" noChangeArrowheads="1"/>
          </p:cNvSpPr>
          <p:nvPr>
            <p:ph type="title"/>
          </p:nvPr>
        </p:nvSpPr>
        <p:spPr>
          <a:xfrm>
            <a:off x="594911" y="304801"/>
            <a:ext cx="11005849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The Carbon Cycle</a:t>
            </a:r>
          </a:p>
        </p:txBody>
      </p:sp>
      <p:sp>
        <p:nvSpPr>
          <p:cNvPr id="403477" name="Rectangle 21"/>
          <p:cNvSpPr>
            <a:spLocks noChangeArrowheads="1"/>
          </p:cNvSpPr>
          <p:nvPr/>
        </p:nvSpPr>
        <p:spPr bwMode="auto">
          <a:xfrm>
            <a:off x="3937001" y="3190875"/>
            <a:ext cx="1190625" cy="2179638"/>
          </a:xfrm>
          <a:prstGeom prst="rect">
            <a:avLst/>
          </a:prstGeom>
          <a:gradFill rotWithShape="1">
            <a:gsLst>
              <a:gs pos="0">
                <a:srgbClr val="CCECFF"/>
              </a:gs>
              <a:gs pos="100000">
                <a:srgbClr val="CCECFF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72" name="Rectangle 16"/>
          <p:cNvSpPr>
            <a:spLocks noChangeArrowheads="1"/>
          </p:cNvSpPr>
          <p:nvPr/>
        </p:nvSpPr>
        <p:spPr bwMode="auto">
          <a:xfrm>
            <a:off x="5891213" y="3479801"/>
            <a:ext cx="4151312" cy="1871663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71" name="Rectangle 15"/>
          <p:cNvSpPr>
            <a:spLocks noChangeArrowheads="1"/>
          </p:cNvSpPr>
          <p:nvPr/>
        </p:nvSpPr>
        <p:spPr bwMode="auto">
          <a:xfrm>
            <a:off x="3919539" y="3516314"/>
            <a:ext cx="1190625" cy="1844675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7" name="AutoShape 11"/>
          <p:cNvSpPr>
            <a:spLocks noChangeArrowheads="1"/>
          </p:cNvSpPr>
          <p:nvPr/>
        </p:nvSpPr>
        <p:spPr bwMode="auto">
          <a:xfrm rot="3799962">
            <a:off x="3547269" y="2305844"/>
            <a:ext cx="1138238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4" name="Rectangle 8"/>
          <p:cNvSpPr>
            <a:spLocks noChangeArrowheads="1"/>
          </p:cNvSpPr>
          <p:nvPr/>
        </p:nvSpPr>
        <p:spPr bwMode="auto">
          <a:xfrm>
            <a:off x="5891213" y="3059113"/>
            <a:ext cx="4151312" cy="22780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1" name="Rectangle 5"/>
          <p:cNvSpPr>
            <a:spLocks noChangeArrowheads="1"/>
          </p:cNvSpPr>
          <p:nvPr/>
        </p:nvSpPr>
        <p:spPr bwMode="auto">
          <a:xfrm>
            <a:off x="3922714" y="3062289"/>
            <a:ext cx="1190625" cy="2293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2" name="Rectangle 6"/>
          <p:cNvSpPr>
            <a:spLocks noChangeArrowheads="1"/>
          </p:cNvSpPr>
          <p:nvPr/>
        </p:nvSpPr>
        <p:spPr bwMode="auto">
          <a:xfrm>
            <a:off x="5895976" y="3744914"/>
            <a:ext cx="4151313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3" name="Rectangle 7"/>
          <p:cNvSpPr>
            <a:spLocks noChangeArrowheads="1"/>
          </p:cNvSpPr>
          <p:nvPr/>
        </p:nvSpPr>
        <p:spPr bwMode="auto">
          <a:xfrm>
            <a:off x="3932239" y="3765551"/>
            <a:ext cx="1190625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6" name="Freeform 10"/>
          <p:cNvSpPr>
            <a:spLocks/>
          </p:cNvSpPr>
          <p:nvPr/>
        </p:nvSpPr>
        <p:spPr bwMode="auto">
          <a:xfrm>
            <a:off x="4386263" y="5314950"/>
            <a:ext cx="4051300" cy="927100"/>
          </a:xfrm>
          <a:custGeom>
            <a:avLst/>
            <a:gdLst>
              <a:gd name="T0" fmla="*/ 0 w 2552"/>
              <a:gd name="T1" fmla="*/ 17 h 584"/>
              <a:gd name="T2" fmla="*/ 0 w 2552"/>
              <a:gd name="T3" fmla="*/ 584 h 584"/>
              <a:gd name="T4" fmla="*/ 2551 w 2552"/>
              <a:gd name="T5" fmla="*/ 584 h 584"/>
              <a:gd name="T6" fmla="*/ 2552 w 2552"/>
              <a:gd name="T7" fmla="*/ 0 h 584"/>
              <a:gd name="T8" fmla="*/ 2475 w 2552"/>
              <a:gd name="T9" fmla="*/ 0 h 584"/>
              <a:gd name="T10" fmla="*/ 2475 w 2552"/>
              <a:gd name="T11" fmla="*/ 515 h 584"/>
              <a:gd name="T12" fmla="*/ 71 w 2552"/>
              <a:gd name="T13" fmla="*/ 507 h 584"/>
              <a:gd name="T14" fmla="*/ 71 w 2552"/>
              <a:gd name="T15" fmla="*/ 16 h 584"/>
              <a:gd name="T16" fmla="*/ 0 w 2552"/>
              <a:gd name="T17" fmla="*/ 17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52" h="584">
                <a:moveTo>
                  <a:pt x="0" y="17"/>
                </a:moveTo>
                <a:lnTo>
                  <a:pt x="0" y="584"/>
                </a:lnTo>
                <a:lnTo>
                  <a:pt x="2551" y="584"/>
                </a:lnTo>
                <a:lnTo>
                  <a:pt x="2552" y="0"/>
                </a:lnTo>
                <a:lnTo>
                  <a:pt x="2475" y="0"/>
                </a:lnTo>
                <a:lnTo>
                  <a:pt x="2475" y="515"/>
                </a:lnTo>
                <a:lnTo>
                  <a:pt x="71" y="507"/>
                </a:lnTo>
                <a:lnTo>
                  <a:pt x="71" y="16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6699FF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8" name="Text Box 12"/>
          <p:cNvSpPr txBox="1">
            <a:spLocks noChangeArrowheads="1"/>
          </p:cNvSpPr>
          <p:nvPr/>
        </p:nvSpPr>
        <p:spPr bwMode="auto">
          <a:xfrm rot="-1519377">
            <a:off x="1779588" y="1851026"/>
            <a:ext cx="257016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4000" dirty="0">
                <a:solidFill>
                  <a:srgbClr val="FF0000"/>
                </a:solidFill>
              </a:rPr>
              <a:t>CO</a:t>
            </a:r>
            <a:r>
              <a:rPr lang="en-US" altLang="en-US" sz="4000" baseline="-25000" dirty="0">
                <a:solidFill>
                  <a:srgbClr val="FF0000"/>
                </a:solidFill>
              </a:rPr>
              <a:t>2 </a:t>
            </a:r>
            <a:r>
              <a:rPr lang="en-US" altLang="en-US" sz="4000" dirty="0">
                <a:solidFill>
                  <a:srgbClr val="FF0000"/>
                </a:solidFill>
              </a:rPr>
              <a:t>Emissions</a:t>
            </a:r>
          </a:p>
        </p:txBody>
      </p:sp>
      <p:sp>
        <p:nvSpPr>
          <p:cNvPr id="403469" name="Text Box 13"/>
          <p:cNvSpPr txBox="1">
            <a:spLocks noChangeArrowheads="1"/>
          </p:cNvSpPr>
          <p:nvPr/>
        </p:nvSpPr>
        <p:spPr bwMode="auto">
          <a:xfrm>
            <a:off x="3890963" y="4330700"/>
            <a:ext cx="120911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600">
                <a:solidFill>
                  <a:schemeClr val="bg1"/>
                </a:solidFill>
              </a:rPr>
              <a:t>Atmosphere</a:t>
            </a:r>
          </a:p>
        </p:txBody>
      </p:sp>
      <p:sp>
        <p:nvSpPr>
          <p:cNvPr id="403470" name="Text Box 14"/>
          <p:cNvSpPr txBox="1">
            <a:spLocks noChangeArrowheads="1"/>
          </p:cNvSpPr>
          <p:nvPr/>
        </p:nvSpPr>
        <p:spPr bwMode="auto">
          <a:xfrm>
            <a:off x="7323139" y="4181476"/>
            <a:ext cx="124745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3200">
                <a:solidFill>
                  <a:schemeClr val="bg1"/>
                </a:solidFill>
              </a:rPr>
              <a:t>Ocean</a:t>
            </a:r>
          </a:p>
        </p:txBody>
      </p:sp>
      <p:sp>
        <p:nvSpPr>
          <p:cNvPr id="403473" name="Line 17"/>
          <p:cNvSpPr>
            <a:spLocks noChangeShapeType="1"/>
          </p:cNvSpPr>
          <p:nvPr/>
        </p:nvSpPr>
        <p:spPr bwMode="auto">
          <a:xfrm>
            <a:off x="4443413" y="5051426"/>
            <a:ext cx="0" cy="84137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4" name="Line 18"/>
          <p:cNvSpPr>
            <a:spLocks noChangeShapeType="1"/>
          </p:cNvSpPr>
          <p:nvPr/>
        </p:nvSpPr>
        <p:spPr bwMode="auto">
          <a:xfrm flipH="1" flipV="1">
            <a:off x="8359775" y="5056189"/>
            <a:ext cx="14288" cy="7699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5" name="Line 19"/>
          <p:cNvSpPr>
            <a:spLocks noChangeShapeType="1"/>
          </p:cNvSpPr>
          <p:nvPr/>
        </p:nvSpPr>
        <p:spPr bwMode="auto">
          <a:xfrm rot="5400000" flipV="1">
            <a:off x="6461126" y="4575176"/>
            <a:ext cx="0" cy="3222625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6" name="Line 20"/>
          <p:cNvSpPr>
            <a:spLocks noChangeShapeType="1"/>
          </p:cNvSpPr>
          <p:nvPr/>
        </p:nvSpPr>
        <p:spPr bwMode="auto">
          <a:xfrm flipH="1" flipV="1">
            <a:off x="8382000" y="34750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8" name="Line 22"/>
          <p:cNvSpPr>
            <a:spLocks noChangeShapeType="1"/>
          </p:cNvSpPr>
          <p:nvPr/>
        </p:nvSpPr>
        <p:spPr bwMode="auto">
          <a:xfrm>
            <a:off x="4533900" y="3167063"/>
            <a:ext cx="12700" cy="328612"/>
          </a:xfrm>
          <a:prstGeom prst="line">
            <a:avLst/>
          </a:prstGeom>
          <a:noFill/>
          <a:ln w="9525">
            <a:solidFill>
              <a:srgbClr val="000066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9" name="Line 23"/>
          <p:cNvSpPr>
            <a:spLocks noChangeShapeType="1"/>
          </p:cNvSpPr>
          <p:nvPr/>
        </p:nvSpPr>
        <p:spPr bwMode="auto">
          <a:xfrm flipH="1" flipV="1">
            <a:off x="4389438" y="3182939"/>
            <a:ext cx="0" cy="3381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80" name="Line 24"/>
          <p:cNvSpPr>
            <a:spLocks noChangeShapeType="1"/>
          </p:cNvSpPr>
          <p:nvPr/>
        </p:nvSpPr>
        <p:spPr bwMode="auto">
          <a:xfrm flipH="1" flipV="1">
            <a:off x="4397375" y="35004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495606" y="2012465"/>
            <a:ext cx="37727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nd, the carbon accumulating in the ocean causes ocean acidification</a:t>
            </a:r>
            <a:r>
              <a:rPr lang="en-US" sz="2000" dirty="0">
                <a:solidFill>
                  <a:schemeClr val="accent6"/>
                </a:solidFill>
              </a:rPr>
              <a:t>.</a:t>
            </a:r>
          </a:p>
        </p:txBody>
      </p:sp>
      <p:sp>
        <p:nvSpPr>
          <p:cNvPr id="24" name="AutoShape 11"/>
          <p:cNvSpPr>
            <a:spLocks noChangeArrowheads="1"/>
          </p:cNvSpPr>
          <p:nvPr/>
        </p:nvSpPr>
        <p:spPr bwMode="auto">
          <a:xfrm rot="3341804">
            <a:off x="8471941" y="2835134"/>
            <a:ext cx="871349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74DE62D8-8FA0-417F-AF77-3107263DBA0E}"/>
              </a:ext>
            </a:extLst>
          </p:cNvPr>
          <p:cNvSpPr txBox="1">
            <a:spLocks noChangeArrowheads="1"/>
          </p:cNvSpPr>
          <p:nvPr/>
        </p:nvSpPr>
        <p:spPr>
          <a:xfrm>
            <a:off x="641631" y="1330971"/>
            <a:ext cx="10959129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D57500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altLang="en-US" sz="2800" dirty="0"/>
              <a:t>In the long-run CO</a:t>
            </a:r>
            <a:r>
              <a:rPr lang="en-US" altLang="en-US" sz="2800" baseline="-25000" dirty="0"/>
              <a:t>2</a:t>
            </a:r>
            <a:r>
              <a:rPr lang="en-US" altLang="en-US" sz="2800" dirty="0"/>
              <a:t> emissions must approach zero.</a:t>
            </a:r>
          </a:p>
        </p:txBody>
      </p:sp>
    </p:spTree>
    <p:extLst>
      <p:ext uri="{BB962C8B-B14F-4D97-AF65-F5344CB8AC3E}">
        <p14:creationId xmlns:p14="http://schemas.microsoft.com/office/powerpoint/2010/main" val="3310874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10972800" cy="1107996"/>
          </a:xfrm>
          <a:ln w="57150">
            <a:solidFill>
              <a:srgbClr val="D57500"/>
            </a:solidFill>
          </a:ln>
        </p:spPr>
        <p:txBody>
          <a:bodyPr vert="horz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limate Sensitivity and Average Earth Surface Temperature Chang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Climate Sensitivity </a:t>
            </a:r>
            <a:r>
              <a:rPr lang="en-US" dirty="0"/>
              <a:t>is the change in the EQUILIBRIUM Earth surface temperature change following a doubling in the concentration of CO</a:t>
            </a:r>
            <a:r>
              <a:rPr lang="en-US" baseline="-25000" dirty="0"/>
              <a:t>2</a:t>
            </a:r>
            <a:r>
              <a:rPr lang="en-US" dirty="0"/>
              <a:t> or an equivalent change in another atmospheric constituent</a:t>
            </a:r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Median Climate Sensitivity = </a:t>
            </a:r>
            <a:r>
              <a:rPr lang="en-US" sz="3200" b="1" dirty="0"/>
              <a:t>3</a:t>
            </a:r>
            <a:r>
              <a:rPr lang="en-US" sz="3200" b="1" baseline="30000" dirty="0"/>
              <a:t>o</a:t>
            </a:r>
            <a:r>
              <a:rPr lang="en-US" sz="3200" b="1" dirty="0"/>
              <a:t>C</a:t>
            </a:r>
            <a:endParaRPr lang="en-US" b="1" dirty="0"/>
          </a:p>
          <a:p>
            <a:endParaRPr lang="en-US" dirty="0"/>
          </a:p>
          <a:p>
            <a:r>
              <a:rPr lang="en-US" sz="2800" dirty="0"/>
              <a:t>Range is 1.5</a:t>
            </a:r>
            <a:r>
              <a:rPr lang="en-US" sz="2800" baseline="30000" dirty="0"/>
              <a:t>o</a:t>
            </a:r>
            <a:r>
              <a:rPr lang="en-US" sz="2800" dirty="0"/>
              <a:t>C to 4.5</a:t>
            </a:r>
            <a:r>
              <a:rPr lang="en-US" sz="2800" baseline="30000" dirty="0"/>
              <a:t>o</a:t>
            </a:r>
            <a:r>
              <a:rPr lang="en-US" sz="2800" dirty="0"/>
              <a:t>C (the same as it was 40 years ago in 1983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20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assessment model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653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562600" y="0"/>
            <a:ext cx="5111496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0337" y="318601"/>
            <a:ext cx="10578222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Integrated Assessment Models</a:t>
            </a:r>
          </a:p>
        </p:txBody>
      </p:sp>
      <p:sp>
        <p:nvSpPr>
          <p:cNvPr id="17412" name="Content Placeholder 2"/>
          <p:cNvSpPr>
            <a:spLocks noGrp="1"/>
          </p:cNvSpPr>
          <p:nvPr>
            <p:ph idx="1"/>
          </p:nvPr>
        </p:nvSpPr>
        <p:spPr>
          <a:xfrm>
            <a:off x="890337" y="1143000"/>
            <a:ext cx="4538151" cy="53583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sz="2200" dirty="0"/>
              <a:t>IAMs integrate human and natural Earth system climate science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provide insights that would be otherwise unavailable from disciplinary research alone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capture interactions between complex and highly nonlinear systems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provide natural science researchers with information about human systems such as GHG emissions, land use and land cover.</a:t>
            </a:r>
          </a:p>
          <a:p>
            <a:pPr marL="225425" lvl="1" indent="-225425"/>
            <a:endParaRPr lang="en-US" altLang="en-US" sz="1600" dirty="0"/>
          </a:p>
          <a:p>
            <a:pPr marL="0" indent="0">
              <a:buNone/>
            </a:pPr>
            <a:r>
              <a:rPr lang="en-US" altLang="en-US" sz="2200" dirty="0"/>
              <a:t>IAMs provide important, science-based decision support tools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support national, international, regional, and private-sector decisions.</a:t>
            </a:r>
          </a:p>
          <a:p>
            <a:pPr marL="0" indent="0">
              <a:buNone/>
            </a:pPr>
            <a:endParaRPr lang="en-US" altLang="en-US" dirty="0"/>
          </a:p>
          <a:p>
            <a:pPr marL="225425" lvl="1" indent="-225425">
              <a:buNone/>
            </a:pPr>
            <a:endParaRPr lang="en-US" alt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7658" y="2118697"/>
            <a:ext cx="4767072" cy="293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642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Arrow 8"/>
          <p:cNvSpPr/>
          <p:nvPr/>
        </p:nvSpPr>
        <p:spPr>
          <a:xfrm>
            <a:off x="4369949" y="1849220"/>
            <a:ext cx="5614261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1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4089522" y="1608069"/>
            <a:ext cx="5291600" cy="34205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97813" y="128938"/>
            <a:ext cx="11207078" cy="103308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Integrated Assessment Models (IAMs) have external inputs and data, a representation of relevant systems and outpu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1236198" y="1880562"/>
            <a:ext cx="2819399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3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n 10"/>
          <p:cNvSpPr/>
          <p:nvPr/>
        </p:nvSpPr>
        <p:spPr>
          <a:xfrm>
            <a:off x="10018135" y="41442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Temperature, RF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17049" y="1511242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Exogenous Assumptions</a:t>
            </a:r>
          </a:p>
        </p:txBody>
      </p:sp>
      <p:sp>
        <p:nvSpPr>
          <p:cNvPr id="13" name="Snip Single Corner Rectangle 12"/>
          <p:cNvSpPr/>
          <p:nvPr/>
        </p:nvSpPr>
        <p:spPr>
          <a:xfrm flipH="1">
            <a:off x="145413" y="19684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pulation</a:t>
            </a:r>
          </a:p>
        </p:txBody>
      </p:sp>
      <p:sp>
        <p:nvSpPr>
          <p:cNvPr id="14" name="Snip Single Corner Rectangle 13"/>
          <p:cNvSpPr/>
          <p:nvPr/>
        </p:nvSpPr>
        <p:spPr>
          <a:xfrm flipH="1">
            <a:off x="297813" y="24256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Labor Productivity</a:t>
            </a:r>
          </a:p>
        </p:txBody>
      </p:sp>
      <p:sp>
        <p:nvSpPr>
          <p:cNvPr id="15" name="Snip Single Corner Rectangle 14"/>
          <p:cNvSpPr/>
          <p:nvPr/>
        </p:nvSpPr>
        <p:spPr>
          <a:xfrm flipH="1">
            <a:off x="526413" y="28828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Technology</a:t>
            </a:r>
          </a:p>
        </p:txBody>
      </p:sp>
      <p:sp>
        <p:nvSpPr>
          <p:cNvPr id="16" name="Snip Single Corner Rectangle 15"/>
          <p:cNvSpPr/>
          <p:nvPr/>
        </p:nvSpPr>
        <p:spPr>
          <a:xfrm flipH="1">
            <a:off x="755013" y="33400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licy</a:t>
            </a:r>
          </a:p>
        </p:txBody>
      </p:sp>
      <p:sp>
        <p:nvSpPr>
          <p:cNvPr id="17" name="Can 16"/>
          <p:cNvSpPr/>
          <p:nvPr/>
        </p:nvSpPr>
        <p:spPr>
          <a:xfrm>
            <a:off x="10018135" y="38775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Livestock</a:t>
            </a:r>
          </a:p>
        </p:txBody>
      </p:sp>
      <p:sp>
        <p:nvSpPr>
          <p:cNvPr id="18" name="Can 17"/>
          <p:cNvSpPr/>
          <p:nvPr/>
        </p:nvSpPr>
        <p:spPr>
          <a:xfrm>
            <a:off x="10018135" y="36108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rops &amp; Forests </a:t>
            </a:r>
          </a:p>
        </p:txBody>
      </p:sp>
      <p:sp>
        <p:nvSpPr>
          <p:cNvPr id="19" name="Can 18"/>
          <p:cNvSpPr/>
          <p:nvPr/>
        </p:nvSpPr>
        <p:spPr>
          <a:xfrm>
            <a:off x="10018135" y="33441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lectric &amp; Refining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0" name="Can 19"/>
          <p:cNvSpPr/>
          <p:nvPr/>
        </p:nvSpPr>
        <p:spPr>
          <a:xfrm>
            <a:off x="10018135" y="30774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mary Energy Supply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1" name="Can 20"/>
          <p:cNvSpPr/>
          <p:nvPr/>
        </p:nvSpPr>
        <p:spPr>
          <a:xfrm>
            <a:off x="10018135" y="28107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conomic Activity</a:t>
            </a:r>
          </a:p>
        </p:txBody>
      </p:sp>
      <p:sp>
        <p:nvSpPr>
          <p:cNvPr id="22" name="Can 21"/>
          <p:cNvSpPr/>
          <p:nvPr/>
        </p:nvSpPr>
        <p:spPr>
          <a:xfrm>
            <a:off x="10018135" y="25440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ommodity Prices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Can 22"/>
          <p:cNvSpPr/>
          <p:nvPr/>
        </p:nvSpPr>
        <p:spPr>
          <a:xfrm>
            <a:off x="10018135" y="22773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ces, Taxes, e.g. CO</a:t>
            </a:r>
            <a:r>
              <a:rPr lang="en-US" sz="12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9833080" y="1515383"/>
            <a:ext cx="218669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000" dirty="0">
                <a:solidFill>
                  <a:prstClr val="black"/>
                </a:solidFill>
                <a:latin typeface="Arial"/>
                <a:cs typeface="Arial"/>
              </a:rPr>
              <a:t>Outputs of IAMs</a:t>
            </a:r>
          </a:p>
        </p:txBody>
      </p:sp>
      <p:sp>
        <p:nvSpPr>
          <p:cNvPr id="31" name="Snip Single Corner Rectangle 30"/>
          <p:cNvSpPr/>
          <p:nvPr/>
        </p:nvSpPr>
        <p:spPr>
          <a:xfrm flipH="1">
            <a:off x="1021712" y="3760117"/>
            <a:ext cx="2392486" cy="1103925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32" name="Can 31"/>
          <p:cNvSpPr/>
          <p:nvPr/>
        </p:nvSpPr>
        <p:spPr>
          <a:xfrm>
            <a:off x="10018135" y="2006542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CO</a:t>
            </a:r>
            <a:r>
              <a:rPr lang="en-US" sz="11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, GHGs, aerosols, OGs</a:t>
            </a:r>
          </a:p>
        </p:txBody>
      </p:sp>
      <p:sp>
        <p:nvSpPr>
          <p:cNvPr id="33" name="Right Arrow 32"/>
          <p:cNvSpPr/>
          <p:nvPr/>
        </p:nvSpPr>
        <p:spPr>
          <a:xfrm rot="16200000">
            <a:off x="5977974" y="4449723"/>
            <a:ext cx="1398663" cy="2632581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Snip Same Side Corner Rectangle 33"/>
          <p:cNvSpPr/>
          <p:nvPr/>
        </p:nvSpPr>
        <p:spPr>
          <a:xfrm>
            <a:off x="5411358" y="5547700"/>
            <a:ext cx="2531894" cy="1100462"/>
          </a:xfrm>
          <a:prstGeom prst="snip2Same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External Data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348089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conom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336024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nerg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986336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griculture &amp; Land Us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86336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Wat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25890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limate, Atmosphere, Ocean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25890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rbon Cycle</a:t>
            </a: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5453566" y="1206088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The Mod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813" y="5214534"/>
            <a:ext cx="4130937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800" i="1" dirty="0"/>
              <a:t>Highly non-linear, strategic models designed to consider global climate forcing and climate impacts at decadal time scales and regional disaggregation ranging from dozens to hundreds</a:t>
            </a:r>
          </a:p>
        </p:txBody>
      </p:sp>
    </p:spTree>
    <p:extLst>
      <p:ext uri="{BB962C8B-B14F-4D97-AF65-F5344CB8AC3E}">
        <p14:creationId xmlns:p14="http://schemas.microsoft.com/office/powerpoint/2010/main" val="1481901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build="p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31" grpId="0" animBg="1"/>
      <p:bldP spid="32" grpId="0" animBg="1"/>
      <p:bldP spid="33" grpId="0" animBg="1"/>
      <p:bldP spid="44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FACC75-D3F8-4D76-9CEA-1A8D9225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64468"/>
            <a:ext cx="109581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Models and Scenario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B344D1-C53E-46D6-BA66-E637FC1D35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27221"/>
            <a:ext cx="3288632" cy="4944979"/>
          </a:xfrm>
        </p:spPr>
        <p:txBody>
          <a:bodyPr>
            <a:normAutofit/>
          </a:bodyPr>
          <a:lstStyle/>
          <a:p>
            <a:r>
              <a:rPr lang="en-US" sz="3200" b="1" dirty="0"/>
              <a:t>Models are structured relationships that produce conditional forecasts.</a:t>
            </a:r>
          </a:p>
          <a:p>
            <a:endParaRPr lang="en-US" sz="2400" dirty="0"/>
          </a:p>
          <a:p>
            <a:r>
              <a:rPr lang="en-US" sz="3200" dirty="0"/>
              <a:t>Scenarios are </a:t>
            </a:r>
            <a:r>
              <a:rPr lang="en-US" sz="3200" b="1" u="sng" dirty="0"/>
              <a:t>conditional</a:t>
            </a:r>
            <a:r>
              <a:rPr lang="en-US" sz="3200" dirty="0"/>
              <a:t> forecast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9E83ED-8FD2-47CC-8784-8D3663CD9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146" y="2601869"/>
            <a:ext cx="7447423" cy="348610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BEE1F0-F279-44FD-931D-18DDD402193F}"/>
              </a:ext>
            </a:extLst>
          </p:cNvPr>
          <p:cNvSpPr/>
          <p:nvPr/>
        </p:nvSpPr>
        <p:spPr>
          <a:xfrm>
            <a:off x="4114800" y="1491916"/>
            <a:ext cx="2442412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24D5F98-BF25-4213-AFC0-E562A17F47CE}"/>
              </a:ext>
            </a:extLst>
          </p:cNvPr>
          <p:cNvSpPr/>
          <p:nvPr/>
        </p:nvSpPr>
        <p:spPr>
          <a:xfrm>
            <a:off x="10283149" y="1491916"/>
            <a:ext cx="1760334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F3B80F-74BE-4132-B33C-A8A91272153F}"/>
              </a:ext>
            </a:extLst>
          </p:cNvPr>
          <p:cNvSpPr txBox="1"/>
          <p:nvPr/>
        </p:nvSpPr>
        <p:spPr>
          <a:xfrm>
            <a:off x="5079140" y="1740931"/>
            <a:ext cx="4860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i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E91D90-3273-4F29-B329-C800E5D00AA0}"/>
              </a:ext>
            </a:extLst>
          </p:cNvPr>
          <p:cNvSpPr txBox="1"/>
          <p:nvPr/>
        </p:nvSpPr>
        <p:spPr>
          <a:xfrm>
            <a:off x="10539587" y="1740931"/>
            <a:ext cx="12474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then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9882CF04-7C80-4313-8926-F32A89247F66}"/>
              </a:ext>
            </a:extLst>
          </p:cNvPr>
          <p:cNvSpPr/>
          <p:nvPr/>
        </p:nvSpPr>
        <p:spPr>
          <a:xfrm>
            <a:off x="5797403" y="1697521"/>
            <a:ext cx="4742184" cy="906596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910B207-2347-4D5F-B798-C2F212D6615F}"/>
              </a:ext>
            </a:extLst>
          </p:cNvPr>
          <p:cNvSpPr/>
          <p:nvPr/>
        </p:nvSpPr>
        <p:spPr>
          <a:xfrm>
            <a:off x="4846908" y="1676226"/>
            <a:ext cx="950495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44DCA35-2F12-4880-B3F8-65C330B4AB9A}"/>
              </a:ext>
            </a:extLst>
          </p:cNvPr>
          <p:cNvSpPr/>
          <p:nvPr/>
        </p:nvSpPr>
        <p:spPr>
          <a:xfrm>
            <a:off x="10581648" y="1676226"/>
            <a:ext cx="1205396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583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8478"/>
            <a:ext cx="11002178" cy="677108"/>
          </a:xfrm>
          <a:ln w="57150">
            <a:solidFill>
              <a:srgbClr val="D57500"/>
            </a:solidFill>
          </a:ln>
        </p:spPr>
        <p:txBody>
          <a:bodyPr/>
          <a:lstStyle/>
          <a:p>
            <a:pPr algn="ctr"/>
            <a:r>
              <a:rPr lang="en-US" sz="4400" b="0" dirty="0"/>
              <a:t>Foundations of Integrated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032" y="1335505"/>
            <a:ext cx="10643936" cy="5005138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3600" i="1" dirty="0"/>
              <a:t>Today’s Topics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Some background stuff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Integrated assessment modeling (IAM) history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Highly detailed IAMs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Scenario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99163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FACC75-D3F8-4D76-9CEA-1A8D9225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4468"/>
            <a:ext cx="8839200" cy="615553"/>
          </a:xfrm>
        </p:spPr>
        <p:txBody>
          <a:bodyPr/>
          <a:lstStyle/>
          <a:p>
            <a:r>
              <a:rPr lang="en-US" sz="4000" dirty="0"/>
              <a:t>Optimization Mode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B344D1-C53E-46D6-BA66-E637FC1D35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27221"/>
            <a:ext cx="3288632" cy="4944979"/>
          </a:xfrm>
        </p:spPr>
        <p:txBody>
          <a:bodyPr>
            <a:normAutofit lnSpcReduction="10000"/>
          </a:bodyPr>
          <a:lstStyle/>
          <a:p>
            <a:r>
              <a:rPr lang="en-US" sz="3200" dirty="0"/>
              <a:t>Some IAMs use an </a:t>
            </a:r>
            <a:r>
              <a:rPr lang="en-US" sz="3200" b="1" dirty="0"/>
              <a:t>optimization</a:t>
            </a:r>
            <a:r>
              <a:rPr lang="en-US" sz="3200" dirty="0"/>
              <a:t> structure. Doesn’t that mean they are NOT responsible for producing conditional forecasts.</a:t>
            </a:r>
          </a:p>
          <a:p>
            <a:endParaRPr 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9E83ED-8FD2-47CC-8784-8D3663CD9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146" y="2601869"/>
            <a:ext cx="7447423" cy="34861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4F496A-0144-480A-A98B-2A9786603BDB}"/>
              </a:ext>
            </a:extLst>
          </p:cNvPr>
          <p:cNvSpPr txBox="1"/>
          <p:nvPr/>
        </p:nvSpPr>
        <p:spPr>
          <a:xfrm>
            <a:off x="5079140" y="1740931"/>
            <a:ext cx="4860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if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6350BE-F48E-43AC-8DCE-05C4382BEF24}"/>
              </a:ext>
            </a:extLst>
          </p:cNvPr>
          <p:cNvSpPr txBox="1"/>
          <p:nvPr/>
        </p:nvSpPr>
        <p:spPr>
          <a:xfrm>
            <a:off x="10539587" y="1740931"/>
            <a:ext cx="12474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th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BEE1F0-F279-44FD-931D-18DDD402193F}"/>
              </a:ext>
            </a:extLst>
          </p:cNvPr>
          <p:cNvSpPr/>
          <p:nvPr/>
        </p:nvSpPr>
        <p:spPr>
          <a:xfrm>
            <a:off x="4114800" y="1491916"/>
            <a:ext cx="2442412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24D5F98-BF25-4213-AFC0-E562A17F47CE}"/>
              </a:ext>
            </a:extLst>
          </p:cNvPr>
          <p:cNvSpPr/>
          <p:nvPr/>
        </p:nvSpPr>
        <p:spPr>
          <a:xfrm>
            <a:off x="10283149" y="1491916"/>
            <a:ext cx="1760334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C81D14-4167-48DC-B23A-C136FC952F5A}"/>
              </a:ext>
            </a:extLst>
          </p:cNvPr>
          <p:cNvSpPr txBox="1"/>
          <p:nvPr/>
        </p:nvSpPr>
        <p:spPr>
          <a:xfrm>
            <a:off x="6858001" y="364468"/>
            <a:ext cx="3286925" cy="10772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r>
              <a:rPr lang="en-US" sz="2400" dirty="0"/>
              <a:t>Optimization IA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MESSAGE (IIASA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ReMIND (PIK)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F832B33F-22BE-41A4-83DC-AD183852557D}"/>
              </a:ext>
            </a:extLst>
          </p:cNvPr>
          <p:cNvSpPr/>
          <p:nvPr/>
        </p:nvSpPr>
        <p:spPr>
          <a:xfrm>
            <a:off x="5797403" y="1697521"/>
            <a:ext cx="4742184" cy="906596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7E351F3-F55B-4F92-90FF-CBCD52D555C8}"/>
              </a:ext>
            </a:extLst>
          </p:cNvPr>
          <p:cNvSpPr/>
          <p:nvPr/>
        </p:nvSpPr>
        <p:spPr>
          <a:xfrm>
            <a:off x="4846908" y="1676226"/>
            <a:ext cx="950495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9060D6C-01C5-4B96-9542-AA4832A2D410}"/>
              </a:ext>
            </a:extLst>
          </p:cNvPr>
          <p:cNvSpPr/>
          <p:nvPr/>
        </p:nvSpPr>
        <p:spPr>
          <a:xfrm>
            <a:off x="10581648" y="1676226"/>
            <a:ext cx="1205396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1305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896853" y="0"/>
            <a:ext cx="7295147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80145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/>
              <a:t>Two </a:t>
            </a:r>
            <a:r>
              <a:rPr lang="en-US" sz="3600" b="0" dirty="0"/>
              <a:t>Major Types of IA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32783"/>
            <a:ext cx="3850640" cy="3016210"/>
          </a:xfrm>
        </p:spPr>
        <p:txBody>
          <a:bodyPr/>
          <a:lstStyle/>
          <a:p>
            <a:r>
              <a:rPr lang="en-US" dirty="0"/>
              <a:t>Integrated assessment models divide into two major branches:</a:t>
            </a:r>
          </a:p>
          <a:p>
            <a:endParaRPr lang="en-US" dirty="0"/>
          </a:p>
          <a:p>
            <a:r>
              <a:rPr lang="en-US" b="1" dirty="0"/>
              <a:t>Highly Aggregated Models</a:t>
            </a:r>
            <a:r>
              <a:rPr lang="en-US" dirty="0"/>
              <a:t>, where the central problem is determining the </a:t>
            </a:r>
            <a:r>
              <a:rPr lang="en-US" b="1" dirty="0"/>
              <a:t>social cost of carbon, </a:t>
            </a:r>
            <a:r>
              <a:rPr lang="en-US" dirty="0"/>
              <a:t>and </a:t>
            </a:r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E91F0A-F833-4FA0-BCF9-9CF18761B720}"/>
              </a:ext>
            </a:extLst>
          </p:cNvPr>
          <p:cNvSpPr txBox="1"/>
          <p:nvPr/>
        </p:nvSpPr>
        <p:spPr>
          <a:xfrm>
            <a:off x="5329989" y="3705729"/>
            <a:ext cx="1852862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1970’s all IAMs were highly aggregated</a:t>
            </a:r>
            <a:endParaRPr lang="en-US" sz="2000" dirty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44CB106-CCFB-4655-B8ED-3E52542D691F}"/>
              </a:ext>
            </a:extLst>
          </p:cNvPr>
          <p:cNvSpPr/>
          <p:nvPr/>
        </p:nvSpPr>
        <p:spPr>
          <a:xfrm>
            <a:off x="7218944" y="3443812"/>
            <a:ext cx="1852863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2200F4-F050-40F3-872A-F75F63DE8AD2}"/>
              </a:ext>
            </a:extLst>
          </p:cNvPr>
          <p:cNvSpPr txBox="1"/>
          <p:nvPr/>
        </p:nvSpPr>
        <p:spPr>
          <a:xfrm>
            <a:off x="9107900" y="3705728"/>
            <a:ext cx="2574760" cy="15696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RICE, DICE, PAGE, and other IAMs remain highly aggregate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732621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896853" y="0"/>
            <a:ext cx="7295147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87CBC30-4C03-4C16-84DE-CAEF1CDEB7D9}"/>
              </a:ext>
            </a:extLst>
          </p:cNvPr>
          <p:cNvSpPr/>
          <p:nvPr/>
        </p:nvSpPr>
        <p:spPr>
          <a:xfrm rot="19122057">
            <a:off x="6042404" y="2134581"/>
            <a:ext cx="3487106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7939489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To Major Types of IA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32783"/>
            <a:ext cx="3850640" cy="4555093"/>
          </a:xfrm>
        </p:spPr>
        <p:txBody>
          <a:bodyPr/>
          <a:lstStyle/>
          <a:p>
            <a:r>
              <a:rPr lang="en-US" dirty="0"/>
              <a:t>Integrated assessment models divide into two major branches:</a:t>
            </a:r>
          </a:p>
          <a:p>
            <a:endParaRPr lang="en-US" dirty="0"/>
          </a:p>
          <a:p>
            <a:r>
              <a:rPr lang="en-US" b="1" dirty="0"/>
              <a:t>Highly Aggregated Models</a:t>
            </a:r>
            <a:r>
              <a:rPr lang="en-US" dirty="0"/>
              <a:t>, where the central problem is determining the </a:t>
            </a:r>
            <a:r>
              <a:rPr lang="en-US" b="1" dirty="0"/>
              <a:t>social cost of carbon, </a:t>
            </a:r>
            <a:r>
              <a:rPr lang="en-US" dirty="0"/>
              <a:t>and </a:t>
            </a:r>
            <a:endParaRPr lang="en-US" b="1" dirty="0"/>
          </a:p>
          <a:p>
            <a:endParaRPr lang="en-US" b="1" dirty="0"/>
          </a:p>
          <a:p>
            <a:r>
              <a:rPr lang="en-US" b="1" dirty="0"/>
              <a:t>Highly Detailed Human-Earth System models</a:t>
            </a:r>
            <a:r>
              <a:rPr lang="en-US" dirty="0"/>
              <a:t>, whose primary problem is describing the detailed </a:t>
            </a:r>
            <a:r>
              <a:rPr lang="en-US" b="1" dirty="0"/>
              <a:t>interactions of human and physical Earth systems, in physical unit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E91F0A-F833-4FA0-BCF9-9CF18761B720}"/>
              </a:ext>
            </a:extLst>
          </p:cNvPr>
          <p:cNvSpPr txBox="1"/>
          <p:nvPr/>
        </p:nvSpPr>
        <p:spPr>
          <a:xfrm>
            <a:off x="5329989" y="3705729"/>
            <a:ext cx="1852862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1970’s all IAMs were highly aggregated</a:t>
            </a:r>
            <a:endParaRPr lang="en-US" sz="2000" dirty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44CB106-CCFB-4655-B8ED-3E52542D691F}"/>
              </a:ext>
            </a:extLst>
          </p:cNvPr>
          <p:cNvSpPr/>
          <p:nvPr/>
        </p:nvSpPr>
        <p:spPr>
          <a:xfrm>
            <a:off x="7218944" y="3443812"/>
            <a:ext cx="1852863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2200F4-F050-40F3-872A-F75F63DE8AD2}"/>
              </a:ext>
            </a:extLst>
          </p:cNvPr>
          <p:cNvSpPr txBox="1"/>
          <p:nvPr/>
        </p:nvSpPr>
        <p:spPr>
          <a:xfrm>
            <a:off x="9107900" y="3705728"/>
            <a:ext cx="2574760" cy="15696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RICE, DICE, PAGE, and other IAMs remain highly aggregated</a:t>
            </a:r>
            <a:endParaRPr lang="en-US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2F8532-3FC7-460E-AC6D-85972968C36E}"/>
              </a:ext>
            </a:extLst>
          </p:cNvPr>
          <p:cNvSpPr txBox="1"/>
          <p:nvPr/>
        </p:nvSpPr>
        <p:spPr>
          <a:xfrm>
            <a:off x="9129956" y="775301"/>
            <a:ext cx="2574760" cy="230832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GCAM, IMAGE, MESSAGE, REMIND, AIM have all developed into highly detailed model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065004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3220"/>
            <a:ext cx="10947094" cy="533954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Where did IAMs come fro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291163" y="782053"/>
            <a:ext cx="6162900" cy="5783495"/>
          </a:xfrm>
        </p:spPr>
        <p:txBody>
          <a:bodyPr>
            <a:normAutofit fontScale="92500"/>
          </a:bodyPr>
          <a:lstStyle/>
          <a:p>
            <a:r>
              <a:rPr lang="en-US" sz="2400" dirty="0"/>
              <a:t>Bill Nordhaus started it all</a:t>
            </a:r>
          </a:p>
          <a:p>
            <a:r>
              <a:rPr lang="en-US" sz="2400" dirty="0"/>
              <a:t>1979 The Efficient Use of Energy Resources , Yale University Press.</a:t>
            </a:r>
          </a:p>
          <a:p>
            <a:r>
              <a:rPr lang="en-US" sz="2400" dirty="0"/>
              <a:t>In 2018, Bill won the Nobel Prize in Economics </a:t>
            </a:r>
            <a:r>
              <a:rPr lang="en-US" sz="2400" i="1" dirty="0"/>
              <a:t>“for integrating climate change into long-run macroeconomic analysis.”</a:t>
            </a:r>
          </a:p>
          <a:p>
            <a:r>
              <a:rPr lang="en-US" sz="2400" dirty="0"/>
              <a:t>That work was followed by the DICE model, which premiered in </a:t>
            </a:r>
          </a:p>
          <a:p>
            <a:r>
              <a:rPr lang="en-US" sz="2400" dirty="0"/>
              <a:t>“Future Carbon Dioxide Emissions from Fossil Fuels,” with Gary Yohe, in National Research Council-National Academy of Sciences, </a:t>
            </a:r>
            <a:r>
              <a:rPr lang="en-US" sz="2400" b="1" i="1" dirty="0"/>
              <a:t>Changing Climate</a:t>
            </a:r>
            <a:r>
              <a:rPr lang="en-US" sz="2400" dirty="0"/>
              <a:t>, National Academy Press, 1983. </a:t>
            </a:r>
          </a:p>
          <a:p>
            <a:r>
              <a:rPr lang="en-US" sz="2400" dirty="0"/>
              <a:t>Dice is highly aggregated.  It has 30 equations.</a:t>
            </a:r>
          </a:p>
          <a:p>
            <a:r>
              <a:rPr lang="en-US" sz="2400" dirty="0">
                <a:hlinkClick r:id="rId2"/>
              </a:rPr>
              <a:t>http://www.econ.yale.edu/~nordhaus/homepage/Web-DICE-2013-April.htm</a:t>
            </a:r>
            <a:endParaRPr lang="en-US" sz="2400" dirty="0"/>
          </a:p>
        </p:txBody>
      </p:sp>
      <p:sp>
        <p:nvSpPr>
          <p:cNvPr id="4" name="AutoShape 2" descr="data:image/jpeg;base64,/9j/4AAQSkZJRgABAQAAAQABAAD/2wCEAAkGBxQTEhQUExQVFRUWGBcWFxgYFBUUFxUXFxUXFxcUFBQYHCggGBwlHBQXITEhJSkrLi4uFx8zODMsNygtLisBCgoKDg0OGhAQGiwkHCQsLCwsLCwsLCwsLCwsLCwsLCwsLCwsLCwsLCwsLCwsLCwsLCwsLCwsLCwsLCwsLCwsLP/AABEIARUAtgMBIgACEQEDEQH/xAAbAAACAwEBAQAAAAAAAAAAAAAEBQIDBgABB//EAD0QAAECBAMGBAUBBwMFAQAAAAEAAgMEESEFEjEiQVFhcYEGE5GhMrHB0fAVI0JSYpLh8RQzohYkgrLDB//EABkBAAIDAQAAAAAAAAAAAAAAAAEDAAIEBf/EACYRAAICAQQBBQADAQAAAAAAAAABAhEDEiExQVEEEyIyYTNCcSP/2gAMAwEAAhEDEQA/AFUrA1aVKTGR/dFxWZXA8VVMwbhwSpfKFi/rJxH0WXD2JbgMo0RiCAmeDxczaISLsRwR3WWXBt9M7uIH48wcOYHgaL5z5NCQvuWLSwiQTzFV8XnIJY9zTqCU7BK1RXKqdlTIpDC0I/DnbPZAQtHI/DNFswf2KZY1GLPMPIEUE21Xs/EHnGl1ZNSYyZr1Q0rDBKOKGqTGrLpaaDp+/lptCbssSmbaasrom0vFBLW77JGRVFmxPVjsfYBAzR+iezbNooTwrCrEcUzituVTpf4YPIjxdtGHovnMwL9/qvo3iR1IZXzl5qQmw+rFt7geIy9geauZAq3suxL90K02YVQIC1tGnqiHN2AhydkIt42Aneo2SX4ZlK5ojDbZWwdF4wWU4Oi517M6faLoS5ewguSxhsZ2GQXNIuCoNbmYnviKT2g8aO1SiBDoS0rZhd3E53qI1UyOERcr6cU1xGWBbUa6pJG2XVWilImdg6JElTDCWmSaDcKdnhDlZfLvH0gYUxWlnfNfSsAiZXuYUp//AE/CvMgZwLtv6IYnpka8ys+UwdSmGFFLpU3TDDGVdQro4H8mhOT+JP8AQqcntgsp3Qknqun4YaSEThcoXXBC0QSixUG2FT/7ilh3+6F7iMOhYFdhsH9qseV/FnUx7YT6B4Pb8ZR8RuvVV+E4dITipxClvk5xmfF5pCXz0fEtx43ibNFhpf4k2P0K9lWJnbaFdHdSGg40XNGPJTnIujeJVVykHplMbRqNiDYCAmhRzQmMX4Qmepe5kgv+iR43Rey+9egWXksLFc5cM63aCYRXLxi9VC59VlYgmJQHeAs/G3HeNVLwDPZXOgE6WRuLSuSI4bjcLRemVmSUdUWhXiMOoDgjvDcz+6VQwBzCCbhBSkTy4gKZmV7mSF0aOO7y4zTxstDPSwiwiDcELM4y0uYHBO8HnC+C0jusr8nRh8safg+LYxh5hx3taNCoYa0tftWutd4wlQ2ZzNIuLpThuFRJiLsNqK3Nw0dXaLd6ea1b+BU4T0fhnsbinMcuiqwmK/MGhxFV9Kf4ChaxYhodzKD/AJO+ysh+F5Nl2gkjeTEea9W0Hsryy7sGONGUm5UtLSTVG4aR5luCfzUnAoKw3nntHpo40S6G2A0nKx4rrd3rcJDdxo1+6tGk3nhsf9uVCO2gSzCfEENsMw6EHcbe5Qk94ib8JBH5uKje5jqhd4ilvOOUFYSYguhuc1tyFrImLgOJAO9ZaYmn+Y5wbqrKW1E0iqSqYjq61RExLObEbm3quFCfmc6lyaq5sKI5wLtytCUdSbKuLoHmj+0CPjiwVDpE56oqJAJohmyJtiI4p+4nR6zReS+hVjWWXQodAsXTOn2ibCuUCaLkKCNsMc6HH8yqb41jD4pF6UWO/WWKJxpqY3N9FKguzRwIxDSM2q8Ebms5+tjgoHHeSj9xldGJGxmcVLmBuZTksZdDYWhxusScdP8ACjZGec7aNOlK/wBkNEy6lBKkOv8ASte/PFe6nv24JvBxhsJmWC2g5W996Qw6u1I/p+ug9Ea1ttna5gW57WiclRRtsN/VIjjWg739BuV7IsRwzE+th6mqCgClzUdBU+pBA7IyWFb1Peub+s3CICM35xbd9uWnqa/RLWxKWLzXiKH3ATuPKONMt+O22vqRdKp2TNbmvVra+qhKB2vfq1weOtCO5+q9E6DsvbfeCKEId0NzT/cg+6rDgdb+1OihKZKbZl2hdvHh1S1003iE0ZmaafE01B49C3es/jWDk7UOtDu4Kjx32HW0FGcYN6rdiDOKROweKvBg8Tgh7UfJPdfgcvxRnFVOxZnFK/0SJwXHB4g3I+1HyD3JDE4s1ccT4BKXyrm/EERAhVQcIoKlJjWDGLhVcrJdlAuSxlGaDl6HLQS2FsJRf/T0PiFpc0IpmVDl1Vqv0CHxUDg0Mb0NaBTE2FyxiOy05/dauWkrABteZFh2Fl2HYexnwg35/Qfda2QkgW1I0FdBYcaDejdhSETJSlARU89K8aaplClnm1TbcBQJnK4fXad1A1PKp4pxLSlacOgCVKRqx47VsUyWGGm6vI096I5uBPdv6A1PpcALQysMCgACawIDSLoxbZWemPRhjg7m7q63p8jUJZO4drYnrSy+mxYISeelQbbkXsGDUj5++SIFAPULmYUT8Q1G76BbUyTRuCojQBRV1DlCLMPOYVStN3r6qqVkszDms6vE/Vaebh6pK+xI4+x4hGMhWXGluhLELRaoqLLyG5m8hL/Ekm4RM4qK600rx6Gyzk6XfxH1TPatXZjeSnRufOZxCrixWcQsJCjO0zH1XTcRwpRxQeFoKyWNvEDgXCihJMsgIALrm6ZSrbJUuBseQoLxc1clIYVYOKuuSjpqE5r61NEPg0OtCE8xWWrD7LVk2ZmjwdhsMOSLxFKubGABIBTzwrfVT8ZyxBYRY1H2Uj9iS4L5OEGADU2/CtRCOWDQfHEIryaL+9uyzknBytbXU3KeSNXOzGtO9KKF0NxE4An6IqWicUMaZVXAdRImbce6G8OYRsGdskTd6suhFlnjTHD526HfMBL8xCoizCsRYkuA+JMIONHQMWYKDiRjxQL6aCJtyQzYuaagE+xRcSYqhoTczz7dUUJycAU/DESEOJ03X3jvdY7Epbj7ii200wBh4FxPTiPULJ4majn+blqx8HPklqEsCApR5YcURCbddMgU3pmbahcDyXZZGS4sqYTbIiBoue3szYuUWLl7ReKllwjAGUzN7rVRYOaGOizuHECL1FFrZZtWLoZ18UzHjYi8MtyxHN4FaHGpNjshecrRcka24JLKsyTRHFafFZcPgkJDfDGwSumKIsNryPKNW6cxTjwUHYh5cUQ9Bx4nWndWysPymgmxIJpv32HzqromGiKwGlcxJ6UoBdEdKNSDJaZc6pOmnVHwW1WMfiEaVpCePMaf9t9xavwmm9OYUeOBctbW9KFx73CRJ70bIqkadkKl/qrHRANVkn4lEZ8cRn9JFf8Akh43iRwpUgjmKfIkopfhW43uzXxHg3BQDRUpHDx9tsxoDv1B9NO6K/WIYaTnb6hROxiG74A3oCbhDclD/EA5np81Y3FM1xQ8szK+lVLQGyMVpFVXIP2jx1HULyZxBpabU9D8ktlpseYDUWB38tEYtWIyLYvnI9S8C+26nSgssriGpT2VNCS873HmKuqgsemGuNG+v9u61Y30YZxfIlht2gr8WYA1tqKptnBE4y6rGpmfoTjKIQsr4QsqoWith6LndM29okSuXOC8QSDYfCIa9rhxC2Uga1WFFAAtthJqGniF0J74zFB7gU6ykdjuy1Bbmhnos3jrDY8D9Vo8NvDHRZf6jr3FeJyDojIb2cMp6ixV0hFdDa2E+lmmhHEE29lGDOOgvdQZmXzN+oUIsYRTVrXNpba1rrYqJm5NTimQxSBXyQbgRmG/JrhU9yEdNyZe2rfiANNyEmIRLCLVs4c3NIIHsm0pFIAN6EVrxS+x1WjITODkAh0Z7XG9RT0NSD7pTNYY7LTzMxqKV+tzdfTpmBDe24v1Sw4dDbfXuUxSYp4k3dGBiyLxDoRUuLQ0C9STSgTHxB4MiS0ARC9riAC9orUV+dFoJSAIsyD+5ANeRinQf+Iv1I4J540aDCLf4odD3CrV7jFcUonyRz3mza2Fvr6ozDZiIyuw4djTh3R+HSedjXDWnuLH3CYskIn8p7f3V06WxneNydieWcXmp43ReKy0J0KlKRKVbTUBtXEu6gH1CNEiW1NL0sBep3KvGYYbBbDYKxHmhdqbUznNvGje/YTlMrJNSSErYWVra3NK9z9AlE4dpOpkUIHAf5SGdFXLVhSWNGHPkvK14IltSFfisEhjbqiEKEIvGXVY3sreoK4yiGbK6FoqGaK+Foub0beyTiuUXL1RBs8jAmG0itqVW08NxSYbeSz3hUh2ZhvwTzw8cpezgVvvZxMMFwxrjUCrD6ovw3GLoYqvJxlYfZCeFY3xN4ErLHhoc+UFTkKjn9Eowx7hEcwmtKEct1PdaHEjldXikAZlil3T0UTVUOxtqQ5mBcDQak/wjf3JQ01iJYKsJAOooHA8y1wIrz15q91wK6E36D/CzmPToBPyoqpG5PyFP8Qv/hhEdIg/+i9l8WiRnCGxjA42q3NmpvoXOIb1Aqs0wuedKct60GDQ3QHeblrQG3LejpsKnfBsIMo1jGww3IW361pUk76lDeJjmAHIV9lYMeZHEN7SDqCNCOoQGLzQcCBwVqXAUtrZmI0RsJ1YZO1dzTap/iY7jxB1RbMXb/P/AEg/IoTxDGY5rGt1bqR00SaDM0NCg4lFKnRqTPQ7HLEfS9NlgPU1PyUfLc8PjOAAplYBo0XsOQPqUrgxrBaLLSVbwp87qspaROZ80YsC6VT7b1TyJQuOVJJ4GpC6EX8Echr5sohPoQSr8TmAQ0IR9gvHxHPoKUoh6nkZiC2aK2FooBllODouY+Db2SeuXj1yi4Iy3w7HyRhXQ6rSyUcf6l2XeFkHNLXmmgP1TGRmz5zSBRdCCWpNmCLaVH0qXFYZqlmAwR5z6Hel7/EAhtIpmJ5pMycc4k/DXgaVSpY6m6HatkbzG47Ay7m1G6or6JJAjCLmy8KH3WSjhzjQG28rV+HJekIneSSOjTT5j3VXi2b8DcMrmkSk5qraHUWSuZki95ruqVfO7ETMNHa/dXykWpPNLNq8MSxcPitHmQbuGrD+8OXNN8O8Q5odHwyNAaX7EahNxApQiyr8qHmzEZXVqSAKPpWmcd9RfqrLdB0NboyUy8NiF8JwHEVp7Kr9QedXe6e4jBFDVjDVxOySbV5gbkCY0ME0hAHLQWAv+b0N/AHqXQvjz7IY2gSToKaqpsMvuW0rem8b7ox0qHPMR13buAG4BX6DmUWUS8lUBtOyKmMReYeXckGL4iYeyz4tXdDuQcHGM1jZBxlVoTknFuhi11CqItyhos8BqUO/Em8UNUvBTTELLAuDUtdioVRxXgEXrZFpQ6quDkidiLl42Zc7eq+2+w6kOoj16h4DLXXKtIsOWQCdyv8AKawVpUokoeZBI/utUYUZnKxcHmJEpuCYwz7IWRbQmqJ3K5UhEfcALUYLE/YsO8ZvZxqPRZGK6i0uARv2Z4tdUdwD86p+BKTcX2ikpONSXRfi7ARUaG6X4bHAOU6hMMRIADh8J/4ne0/RIo7b1GqxZMbxycWdOOVZIqcTcSjg5tEDiMq7d/lKsExsDZdZamDPMIvTvuVKHwepGKmg7eSPWiDYy91tZvKdwSeLBZXciXlF0LYTEPNxKAkbgaDiQCfoipuYa0G9FmYs+X+Y8fC1pa3qdmvqVbHDVLcx5smhbC6Ptbe83PNLYraGoTZosgJht00wnQ3Bwobr39NB0ce4qqYOqZwVCCyJhjxoAeh+ioMIjUEdVpGK7ywbEV63UCmZcNRklCTSNhDTpUdLj0UWSTmc+iVNOhkWrJgLlxXizoczR5lCJ+d0OIhqiGuW4yAzTR3JEPaaWQ0cXFERmuQoQCjBMcBmaPpucKdxce1fZBTEP8qq5dxBtTcRrqLq+OWmSZWStGxBFwbtdqPqOaUTkAw3EG41B4hM4UQPaHDQiq9iQREYWO7HgeK3Z8Kyx256KYczxv8ADJzDL1Ctl8Xe2xJsq52E+E/K/sdxHEKh11yXFxdM6UZ9xG7fELqUVLsQL67hvStyHmpqgoLBCrLyzSorxWfJqAeQ+6riNyQGt3vcPRtz70Qsq3zInII7Fj+1Yz+Bnu6/0C0QjUWzBklqlRWg5lu9GFUOFahUABwAmUIISBDoaI1oUAixpV8J6GAV8NQIbDKtAVMNXVUIQfAB5rlaVyFLwHUyDD6q5r1Qz1/P7r2I+isAtde6pzXUoRNCqnC6IAl9whdCioTioRm/lVAjjw9GqxzT+6bdDf51TZuqzWExckVvB2yfp7/NaU2XRwTuCM01TOnZBsZuVw0uDvCwUyx0NxaSHC9HC4cK0qCnfizGS1ogwzRzhtkbmn93uqcPkmGVDi8EjVp0t7g80r1SjN/ozDKUf8EUWOl00+yOxKCGuGUktO47uVd6lJSQO2/QXp9SsaxvVRplkVWVYWfKLA4ZnxHC3BvEqEzEzRojv5qelvopykSs1nPBxHKjTQeyolxa++6ZPaNCFu7CCbKghWBeZUkuehu9ekqTAoEXooQuhq4KqEiAFCF0IogIWEiFAImvVV2XKBLKKt/5zVxVJKIC1goOd1EhLos46G7aGZh9R04jki4Ey1wq01HuOoUIEh1F4Of+OSpe6mu72XNiIkJxHEXGouOoutQY4MPzK0blzHpSqywRUN74sDymCzTtnvstHZafTS5QrIuxAYxixHvOpJty3eykDRTdLmG7SnHojTK5hVOUStgThmLG/wAw9DZNZuGGscBwS6Vh/tQOF/RGYhF0bxKGlK2G9hJOMoK77Ad9fZeMFldiI+Ec6qvKsub7UMhwdRSaFwCk0JJckAqXPBNBu1VEw9xNLim5WSsKihApgRTW2VDAimBEBzQpsC5o+ysbqoQ8c4DVcls/EJdRpv8An3XIBGrzr8lQSiHoeI1EB5GhAj7oaBJBjs+/dy59UWLCp7KlzqlEBLMvWqBVjVAlgTLw5Go57OJr7Jc0q/BXUj9R8k/0zrIheT6jXF5AONaJWyEYdj8J9lpogQ8WC1wpyXTcFdmezO+TRzncUJq6qazkq5oLb9UCyHRZ5LcYuBdPM2xyCrIRs0zbPID6odwWHP8AdjocFK4hTIVcN9fzeklznNzdQpw2KTWryWfmr1t2UAwhjbq5irYrWhEBMLyO4AL1LMTjWoN9lAnktEG1EdvNG9Bv9VyHgyLogG4AWXqhB6HVBVb1CE78+yk41UIQHA7rdlBexBS/r0XPKIDipNKrCm1Qhc0qcg+kdnVVqMJ1IjD/ADBXxOppglumbSJcLyTh1JUWVIsiHPENhJXaRjYBOR2tjQy4VaCHEa1A1tvQ2IlkWIXsoRxAsT+UQMaZ8x4PVGMsFmcdU9Qy6jQjnG7buoHsPug3IqMalx/mI9LfRCPK52V3NmiHBCn5+dlB8LeNfmrQvapRYqmn5W8zb1VkpCygBDNOeIBubfumEMIkJAKyi6ikSoQhFdQJHORdtoO6/wBvqmcw9JIhrEPYKED/APXONmilFyulnMaNy5EARDKIOnP8+6DguqAeIHuiAdFAkg2tlS3eDusr2qiJYg8bfb85oEOaphVg3U2ogLAVVENx2KmAqomhUWzIbWWigNBPBIcYxMuqArYswTBYBvA+Srw/Ci830XZbctkZEqPMHh7DSdb/APs5GR4lAURNQRDIaNKfMpRPRrFV+qoPIE8W7uPq4lCvRLzYdAhXm65M92zWuDlVNRcrSVc1lUHMMzPDRoNeqqQvwuCQKnU3R4ChDFKcNFaoQ4qERysQ8w6mv50RIBx33HK56D76JJEibbjzTKPF1/O5SiFEGY1vfTuoANgw4j9FyNhxHkWAaOZA9lyhC+S+FvQfJGMH5+flly5QJZTRVvFQuXIAItK9XLkSFgH53VUTReLlCDOQNYbPRa7C4IDVy5drBwjJPkS+IH7fYfNZTFJggLlyVl5ZaPAVF0QbviXLlyjUEGzULJi2be665cgQNqrG6fn5vXLkQA8eMRYIGK6q8XKEAZhyWSwuvFyhDQyrgGig+p9Vy5cgQ//Z"/>
          <p:cNvSpPr>
            <a:spLocks noChangeAspect="1" noChangeArrowheads="1"/>
          </p:cNvSpPr>
          <p:nvPr/>
        </p:nvSpPr>
        <p:spPr bwMode="auto">
          <a:xfrm>
            <a:off x="1679575" y="-2117725"/>
            <a:ext cx="2895600" cy="44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960" y="1374084"/>
            <a:ext cx="3017228" cy="4599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9834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42" y="1058779"/>
            <a:ext cx="4567218" cy="54262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771" y="542296"/>
            <a:ext cx="4567661" cy="5942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9132"/>
            <a:ext cx="5945436" cy="76632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The DICE: the world in 30 Equations</a:t>
            </a:r>
          </a:p>
        </p:txBody>
      </p:sp>
    </p:spTree>
    <p:extLst>
      <p:ext uri="{BB962C8B-B14F-4D97-AF65-F5344CB8AC3E}">
        <p14:creationId xmlns:p14="http://schemas.microsoft.com/office/powerpoint/2010/main" val="240135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9A24B64A-8F96-4409-9C17-58AFEA139C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6058" y="0"/>
            <a:ext cx="5025942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Nordhaus central problem is cost-benef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3926" y="1371598"/>
            <a:ext cx="6432132" cy="4653582"/>
          </a:xfrm>
        </p:spPr>
        <p:txBody>
          <a:bodyPr/>
          <a:lstStyle/>
          <a:p>
            <a:r>
              <a:rPr lang="en-US" sz="2800" dirty="0"/>
              <a:t>What is the socially optimal emissions path?</a:t>
            </a:r>
          </a:p>
          <a:p>
            <a:r>
              <a:rPr lang="en-US" sz="2800" dirty="0"/>
              <a:t>What is the optimal global carbon tax?</a:t>
            </a:r>
          </a:p>
          <a:p>
            <a:r>
              <a:rPr lang="en-US" sz="2800" dirty="0"/>
              <a:t>What is the optimal change in climate?</a:t>
            </a:r>
          </a:p>
          <a:p>
            <a:r>
              <a:rPr lang="en-US" sz="2800" dirty="0"/>
              <a:t>How do you monetize climate damages, many of which do not pass through markets?</a:t>
            </a:r>
          </a:p>
          <a:p>
            <a:r>
              <a:rPr lang="en-US" sz="2800" dirty="0"/>
              <a:t>How do you discount costs and benefits?</a:t>
            </a:r>
          </a:p>
        </p:txBody>
      </p:sp>
      <p:pic>
        <p:nvPicPr>
          <p:cNvPr id="9625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240" y="1064624"/>
            <a:ext cx="4460081" cy="4199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589921" y="5367113"/>
            <a:ext cx="4343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</a:t>
            </a:r>
            <a:r>
              <a:rPr lang="en-US" sz="1100" dirty="0" err="1"/>
              <a:t>Crost</a:t>
            </a:r>
            <a:r>
              <a:rPr lang="en-US" sz="1100" dirty="0"/>
              <a:t>, Benjamin, and Christian P. </a:t>
            </a:r>
            <a:r>
              <a:rPr lang="en-US" sz="1100" dirty="0" err="1"/>
              <a:t>Traeger</a:t>
            </a:r>
            <a:r>
              <a:rPr lang="en-US" sz="1100" dirty="0"/>
              <a:t>. "Optimal CO2 mitigation under damage risk valuation." </a:t>
            </a:r>
            <a:r>
              <a:rPr lang="en-US" sz="1100" i="1" dirty="0"/>
              <a:t>Nature Climate Change</a:t>
            </a:r>
            <a:r>
              <a:rPr lang="en-US" sz="1100" dirty="0"/>
              <a:t> (2014).</a:t>
            </a:r>
          </a:p>
        </p:txBody>
      </p:sp>
    </p:spTree>
    <p:extLst>
      <p:ext uri="{BB962C8B-B14F-4D97-AF65-F5344CB8AC3E}">
        <p14:creationId xmlns:p14="http://schemas.microsoft.com/office/powerpoint/2010/main" val="2997145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1562518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The most important contribution highly aggregated IAMs make is defining the Social Cost of Carb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496301" y="3415066"/>
            <a:ext cx="11199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he social cost of carbon</a:t>
            </a:r>
            <a:r>
              <a:rPr lang="en-US" sz="2400" dirty="0"/>
              <a:t> (SCC) is an estimate, in dollars, of the economic damages that would result from emitting one additional ton of greenhouse gases into the atmospher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B2C9EF-567C-4433-9D69-D2995EE39486}"/>
              </a:ext>
            </a:extLst>
          </p:cNvPr>
          <p:cNvSpPr/>
          <p:nvPr/>
        </p:nvSpPr>
        <p:spPr>
          <a:xfrm>
            <a:off x="984582" y="4556818"/>
            <a:ext cx="1022283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EPA estimates: $12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5%discount rate),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$19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0%discount rate),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$34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1.5%discount rate).</a:t>
            </a:r>
            <a:r>
              <a:rPr lang="en-US" sz="2800" baseline="30000" dirty="0">
                <a:solidFill>
                  <a:srgbClr val="0645AD"/>
                </a:solidFill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RFF estimate: $185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0%discount rate).</a:t>
            </a:r>
            <a:endParaRPr lang="en-US" sz="2800" baseline="30000" dirty="0">
              <a:solidFill>
                <a:srgbClr val="0645AD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9840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780466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Highly aggregated IAMs have drawn the ire of critiques such as Robert </a:t>
            </a:r>
            <a:r>
              <a:rPr lang="en-US" sz="3200" dirty="0" err="1"/>
              <a:t>Pindyck</a:t>
            </a:r>
            <a:endParaRPr lang="en-US" sz="3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672512" y="2202382"/>
            <a:ext cx="591653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se models [IAMs] have crucial flaws that make them close to useless as tools for policy analysis: certain inputs (e.g., the discount rate) are arbitrary, but have huge effects on the SCC estimates the models produce; the models' descriptions of the impact of climate change are completely ad hoc, with no theoretical or empirical foundation; and the models can tell us nothing about the most important driver of the SCC, the possibility of a catastrophic climate outcome. IAM-based analyses of climate policy create a perception of knowledge and precision, but that perception is illusory and misleading.</a:t>
            </a:r>
            <a:endParaRPr lang="en-US" sz="2800" dirty="0"/>
          </a:p>
        </p:txBody>
      </p:sp>
      <p:pic>
        <p:nvPicPr>
          <p:cNvPr id="2050" name="Picture 2" descr="01 - Robert S. Pindyck - Massachusetts Institute of Technology - YouTube">
            <a:extLst>
              <a:ext uri="{FF2B5EF4-FFF2-40B4-BE49-F238E27FC236}">
                <a16:creationId xmlns:a16="http://schemas.microsoft.com/office/drawing/2014/main" id="{6AB5DDE2-880E-4163-9A59-B3E085306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445" y="2314534"/>
            <a:ext cx="4754582" cy="3561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4817A44-4FF9-4640-93DC-AFC92BB986E4}"/>
              </a:ext>
            </a:extLst>
          </p:cNvPr>
          <p:cNvSpPr/>
          <p:nvPr/>
        </p:nvSpPr>
        <p:spPr>
          <a:xfrm>
            <a:off x="672512" y="6191503"/>
            <a:ext cx="107675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>
                <a:solidFill>
                  <a:srgbClr val="353C3F"/>
                </a:solidFill>
                <a:latin typeface="ff-more-web-pro"/>
              </a:rPr>
              <a:t>Pindyck</a:t>
            </a:r>
            <a:r>
              <a:rPr lang="en-US" sz="1600" dirty="0">
                <a:solidFill>
                  <a:srgbClr val="353C3F"/>
                </a:solidFill>
                <a:latin typeface="ff-more-web-pro"/>
              </a:rPr>
              <a:t>, Robert S.. 2013. "Climate Change Policy: What Do the Models Tell Us?." </a:t>
            </a:r>
            <a:r>
              <a:rPr lang="en-US" sz="1600" i="1" dirty="0">
                <a:solidFill>
                  <a:srgbClr val="353C3F"/>
                </a:solidFill>
                <a:latin typeface="ff-more-web-pro"/>
              </a:rPr>
              <a:t>Journal of Economic Literature</a:t>
            </a:r>
            <a:r>
              <a:rPr lang="en-US" sz="1600" dirty="0">
                <a:solidFill>
                  <a:srgbClr val="353C3F"/>
                </a:solidFill>
                <a:latin typeface="ff-more-web-pro"/>
              </a:rPr>
              <a:t>, 51(3):860-72</a:t>
            </a:r>
            <a:r>
              <a:rPr lang="en-US" sz="1600" dirty="0">
                <a:solidFill>
                  <a:srgbClr val="353C3F"/>
                </a:solidFill>
                <a:latin typeface="inherit"/>
              </a:rPr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221322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780466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Researchers such as John Weyant have defended the field of integrated assess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751973" y="2482879"/>
            <a:ext cx="591653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Researchers such as Weyant have pressed the case for IAMs, and particularly highly detailed IAMs as valuable research and policy support tools.</a:t>
            </a:r>
            <a:endParaRPr lang="en-US" sz="3600" dirty="0"/>
          </a:p>
        </p:txBody>
      </p:sp>
      <p:pic>
        <p:nvPicPr>
          <p:cNvPr id="3074" name="Picture 2" descr="John P. Weyant | Aspen Global Change Institute">
            <a:extLst>
              <a:ext uri="{FF2B5EF4-FFF2-40B4-BE49-F238E27FC236}">
                <a16:creationId xmlns:a16="http://schemas.microsoft.com/office/drawing/2014/main" id="{A36F206F-8158-466F-B6F2-CB68B183E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674" y="2202382"/>
            <a:ext cx="3944352" cy="3944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F002EEB-5A69-49C5-9A67-D9838205B029}"/>
              </a:ext>
            </a:extLst>
          </p:cNvPr>
          <p:cNvSpPr/>
          <p:nvPr/>
        </p:nvSpPr>
        <p:spPr>
          <a:xfrm>
            <a:off x="751973" y="5223404"/>
            <a:ext cx="66354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85754"/>
                </a:solidFill>
                <a:latin typeface="Source Sans Pro" panose="020B0503030403020204" pitchFamily="34" charset="0"/>
              </a:rPr>
              <a:t>Weyant, J. “Some Contributions of Integrated Assessment Models of Global Climate Change” Review Of Environmental Economics And Policy, 2017; 11 (1): 115-13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8744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AD44A-DEC2-47CB-8FEC-7723AEBD4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y Detailed IA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03293-23AF-461A-AAFC-ED7F60558B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423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mate bas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429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64779" cy="73826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CAM has its roots in the same time fram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68567" y="1416067"/>
            <a:ext cx="5734411" cy="4665893"/>
          </a:xfrm>
        </p:spPr>
        <p:txBody>
          <a:bodyPr/>
          <a:lstStyle/>
          <a:p>
            <a:r>
              <a:rPr lang="en-US" sz="2400" dirty="0"/>
              <a:t>The Global Change Assessment Model (GCAM) began in 1978.</a:t>
            </a:r>
          </a:p>
          <a:p>
            <a:endParaRPr lang="en-US" sz="2400" dirty="0"/>
          </a:p>
          <a:p>
            <a:r>
              <a:rPr lang="en-US" sz="2400" dirty="0"/>
              <a:t>Jae Edmonds and John Reilly</a:t>
            </a:r>
          </a:p>
          <a:p>
            <a:pPr lvl="1"/>
            <a:r>
              <a:rPr lang="en-US" sz="2000" dirty="0"/>
              <a:t>Reilly was the director of the MIT IAM program until he retired in 2020.</a:t>
            </a:r>
          </a:p>
          <a:p>
            <a:endParaRPr lang="en-US" sz="2400" dirty="0"/>
          </a:p>
          <a:p>
            <a:r>
              <a:rPr lang="en-US" sz="2400" dirty="0"/>
              <a:t>The original science question was would fossil fuel CO2 emissions continue to rise at 4.5%/</a:t>
            </a:r>
            <a:r>
              <a:rPr lang="en-US" sz="2400" dirty="0" err="1"/>
              <a:t>yr</a:t>
            </a:r>
            <a:r>
              <a:rPr lang="en-US" sz="2400" dirty="0"/>
              <a:t>?  (which implied that CO2 concentrations would double around the year 2000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799" y="1371599"/>
            <a:ext cx="3398976" cy="480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2630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2"/>
          <p:cNvSpPr>
            <a:spLocks noGrp="1"/>
          </p:cNvSpPr>
          <p:nvPr>
            <p:ph type="title"/>
          </p:nvPr>
        </p:nvSpPr>
        <p:spPr>
          <a:xfrm>
            <a:off x="638978" y="171349"/>
            <a:ext cx="10950767" cy="1107996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Highly detailed IAMs are developed by interdisciplinary team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1639469"/>
              </p:ext>
            </p:extLst>
          </p:nvPr>
        </p:nvGraphicFramePr>
        <p:xfrm>
          <a:off x="1524000" y="1432859"/>
          <a:ext cx="8686799" cy="5025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43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2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29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377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odel</a:t>
                      </a:r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me Institution</a:t>
                      </a:r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8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M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a Integrated Model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tional</a:t>
                      </a: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stitutes for Environmental Studies, Tsukuba Japan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GCAM</a:t>
                      </a:r>
                    </a:p>
                    <a:p>
                      <a:pPr algn="ctr"/>
                      <a:r>
                        <a:rPr lang="en-US" sz="1100" dirty="0"/>
                        <a:t>Global Change Assessment Model</a:t>
                      </a:r>
                    </a:p>
                    <a:p>
                      <a:pPr algn="ctr"/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Joint Global Change Research Institute, PNNL, College Park, MD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GSM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ted Global System Model</a:t>
                      </a:r>
                    </a:p>
                    <a:p>
                      <a:pPr marL="0" algn="ctr" defTabSz="914400" rtl="0" eaLnBrk="1" latinLnBrk="0" hangingPunct="1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oint Program, MIT, Cambridge,</a:t>
                      </a: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246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MAGE</a:t>
                      </a:r>
                    </a:p>
                    <a:p>
                      <a:pPr algn="ctr"/>
                      <a:r>
                        <a:rPr lang="en-US" sz="1100" dirty="0"/>
                        <a:t>The Integrated Model to Assess the Global Environment</a:t>
                      </a:r>
                    </a:p>
                    <a:p>
                      <a:pPr algn="ctr"/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BL Netherlands Environmental Assessment Agency, Bildhoven, The Netherlands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ESSAGE</a:t>
                      </a:r>
                    </a:p>
                    <a:p>
                      <a:pPr algn="ctr"/>
                      <a:r>
                        <a:rPr lang="en-US" sz="1100" dirty="0"/>
                        <a:t>Model for Energy Supply Strategy Alternatives and their General Environmental Impact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nternational Institute for Applied Systems Analysis; Laxenburg, Austria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MIND</a:t>
                      </a:r>
                    </a:p>
                    <a:p>
                      <a:pPr algn="ctr"/>
                      <a:r>
                        <a:rPr lang="en-US" sz="1100" dirty="0"/>
                        <a:t>Regionalized Model of Investments and Technological Development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tsdam Institute for Climate Impacts Research; Potsdam, Germany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5770798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4170771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4998222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604" y="1847421"/>
            <a:ext cx="942185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201" y="2595655"/>
            <a:ext cx="1256990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201" y="3368231"/>
            <a:ext cx="1256990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296295" y="6391535"/>
            <a:ext cx="31422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rgbClr val="D57500"/>
                </a:solidFill>
                <a:latin typeface="Arial"/>
                <a:ea typeface="+mj-ea"/>
                <a:cs typeface="Arial"/>
              </a:rPr>
              <a:t>More are on the way</a:t>
            </a:r>
          </a:p>
        </p:txBody>
      </p:sp>
    </p:spTree>
    <p:extLst>
      <p:ext uri="{BB962C8B-B14F-4D97-AF65-F5344CB8AC3E}">
        <p14:creationId xmlns:p14="http://schemas.microsoft.com/office/powerpoint/2010/main" val="11709145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Arrow 8"/>
          <p:cNvSpPr/>
          <p:nvPr/>
        </p:nvSpPr>
        <p:spPr>
          <a:xfrm>
            <a:off x="4369949" y="1849220"/>
            <a:ext cx="5614261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1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4089522" y="1608069"/>
            <a:ext cx="5291600" cy="34205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8000" y="125074"/>
            <a:ext cx="11207078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Fully developed IAMs include all of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1236198" y="1880562"/>
            <a:ext cx="2819399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3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n 10"/>
          <p:cNvSpPr/>
          <p:nvPr/>
        </p:nvSpPr>
        <p:spPr>
          <a:xfrm>
            <a:off x="10018135" y="41442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Temperature, RF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17049" y="1511242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Exogenous Assumptions</a:t>
            </a:r>
          </a:p>
        </p:txBody>
      </p:sp>
      <p:sp>
        <p:nvSpPr>
          <p:cNvPr id="13" name="Snip Single Corner Rectangle 12"/>
          <p:cNvSpPr/>
          <p:nvPr/>
        </p:nvSpPr>
        <p:spPr>
          <a:xfrm flipH="1">
            <a:off x="145413" y="19684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pulation</a:t>
            </a:r>
          </a:p>
        </p:txBody>
      </p:sp>
      <p:sp>
        <p:nvSpPr>
          <p:cNvPr id="14" name="Snip Single Corner Rectangle 13"/>
          <p:cNvSpPr/>
          <p:nvPr/>
        </p:nvSpPr>
        <p:spPr>
          <a:xfrm flipH="1">
            <a:off x="297813" y="24256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Labor Productivity</a:t>
            </a:r>
          </a:p>
        </p:txBody>
      </p:sp>
      <p:sp>
        <p:nvSpPr>
          <p:cNvPr id="15" name="Snip Single Corner Rectangle 14"/>
          <p:cNvSpPr/>
          <p:nvPr/>
        </p:nvSpPr>
        <p:spPr>
          <a:xfrm flipH="1">
            <a:off x="526413" y="28828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Technology</a:t>
            </a:r>
          </a:p>
        </p:txBody>
      </p:sp>
      <p:sp>
        <p:nvSpPr>
          <p:cNvPr id="16" name="Snip Single Corner Rectangle 15"/>
          <p:cNvSpPr/>
          <p:nvPr/>
        </p:nvSpPr>
        <p:spPr>
          <a:xfrm flipH="1">
            <a:off x="755013" y="33400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licy</a:t>
            </a:r>
          </a:p>
        </p:txBody>
      </p:sp>
      <p:sp>
        <p:nvSpPr>
          <p:cNvPr id="17" name="Can 16"/>
          <p:cNvSpPr/>
          <p:nvPr/>
        </p:nvSpPr>
        <p:spPr>
          <a:xfrm>
            <a:off x="10018135" y="38775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Livestock</a:t>
            </a:r>
          </a:p>
        </p:txBody>
      </p:sp>
      <p:sp>
        <p:nvSpPr>
          <p:cNvPr id="18" name="Can 17"/>
          <p:cNvSpPr/>
          <p:nvPr/>
        </p:nvSpPr>
        <p:spPr>
          <a:xfrm>
            <a:off x="10018135" y="36108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rops &amp; Forests </a:t>
            </a:r>
          </a:p>
        </p:txBody>
      </p:sp>
      <p:sp>
        <p:nvSpPr>
          <p:cNvPr id="19" name="Can 18"/>
          <p:cNvSpPr/>
          <p:nvPr/>
        </p:nvSpPr>
        <p:spPr>
          <a:xfrm>
            <a:off x="10018135" y="33441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lectric &amp; Refining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0" name="Can 19"/>
          <p:cNvSpPr/>
          <p:nvPr/>
        </p:nvSpPr>
        <p:spPr>
          <a:xfrm>
            <a:off x="10018135" y="30774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mary Energy Supply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1" name="Can 20"/>
          <p:cNvSpPr/>
          <p:nvPr/>
        </p:nvSpPr>
        <p:spPr>
          <a:xfrm>
            <a:off x="10018135" y="28107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conomic Activity</a:t>
            </a:r>
          </a:p>
        </p:txBody>
      </p:sp>
      <p:sp>
        <p:nvSpPr>
          <p:cNvPr id="22" name="Can 21"/>
          <p:cNvSpPr/>
          <p:nvPr/>
        </p:nvSpPr>
        <p:spPr>
          <a:xfrm>
            <a:off x="10018135" y="25440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ommodity Prices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Can 22"/>
          <p:cNvSpPr/>
          <p:nvPr/>
        </p:nvSpPr>
        <p:spPr>
          <a:xfrm>
            <a:off x="10018135" y="22773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ces, Taxes, e.g. CO</a:t>
            </a:r>
            <a:r>
              <a:rPr lang="en-US" sz="12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9833080" y="1515383"/>
            <a:ext cx="218669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000" dirty="0">
                <a:solidFill>
                  <a:prstClr val="black"/>
                </a:solidFill>
                <a:latin typeface="Arial"/>
                <a:cs typeface="Arial"/>
              </a:rPr>
              <a:t>Outputs of IAMs</a:t>
            </a:r>
          </a:p>
        </p:txBody>
      </p:sp>
      <p:sp>
        <p:nvSpPr>
          <p:cNvPr id="31" name="Snip Single Corner Rectangle 30"/>
          <p:cNvSpPr/>
          <p:nvPr/>
        </p:nvSpPr>
        <p:spPr>
          <a:xfrm flipH="1">
            <a:off x="1021712" y="3760117"/>
            <a:ext cx="2392486" cy="1103925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32" name="Can 31"/>
          <p:cNvSpPr/>
          <p:nvPr/>
        </p:nvSpPr>
        <p:spPr>
          <a:xfrm>
            <a:off x="10018135" y="2006542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CO</a:t>
            </a:r>
            <a:r>
              <a:rPr lang="en-US" sz="11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, GHGs, aerosols, OGs</a:t>
            </a:r>
          </a:p>
        </p:txBody>
      </p:sp>
      <p:sp>
        <p:nvSpPr>
          <p:cNvPr id="33" name="Right Arrow 32"/>
          <p:cNvSpPr/>
          <p:nvPr/>
        </p:nvSpPr>
        <p:spPr>
          <a:xfrm rot="16200000">
            <a:off x="5977974" y="4449723"/>
            <a:ext cx="1398663" cy="2632581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Snip Same Side Corner Rectangle 33"/>
          <p:cNvSpPr/>
          <p:nvPr/>
        </p:nvSpPr>
        <p:spPr>
          <a:xfrm>
            <a:off x="5411358" y="5547700"/>
            <a:ext cx="2531894" cy="1100462"/>
          </a:xfrm>
          <a:prstGeom prst="snip2Same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External Data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348089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conom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336024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nerg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986336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griculture &amp; Land Us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86336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Wat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25890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limate, Atmosphere, Ocean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25890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rbon Cycle</a:t>
            </a: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5453566" y="1206088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The Mod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813" y="5214534"/>
            <a:ext cx="4130937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800" i="1" dirty="0"/>
              <a:t>Highly non-linear, strategic models designed to consider global climate forcing and climate impacts at decadal time scales and regional disaggregation ranging from dozens to hundreds</a:t>
            </a:r>
          </a:p>
        </p:txBody>
      </p:sp>
    </p:spTree>
    <p:extLst>
      <p:ext uri="{BB962C8B-B14F-4D97-AF65-F5344CB8AC3E}">
        <p14:creationId xmlns:p14="http://schemas.microsoft.com/office/powerpoint/2010/main" val="725099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build="p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31" grpId="0" animBg="1"/>
      <p:bldP spid="32" grpId="0" animBg="1"/>
      <p:bldP spid="33" grpId="0" animBg="1"/>
      <p:bldP spid="44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215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Scenarios are Produced by Mod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09379"/>
            <a:ext cx="9508958" cy="4351338"/>
          </a:xfrm>
        </p:spPr>
        <p:txBody>
          <a:bodyPr>
            <a:normAutofit/>
          </a:bodyPr>
          <a:lstStyle/>
          <a:p>
            <a:r>
              <a:rPr lang="en-US" sz="3200" dirty="0"/>
              <a:t>Models vary in complexity and detail</a:t>
            </a:r>
          </a:p>
          <a:p>
            <a:r>
              <a:rPr lang="en-US" sz="3200" dirty="0"/>
              <a:t>You don’t need a full integrated assessment model (IAM) to be in the modeling busines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9999"/>
            <a:ext cx="12192000" cy="30480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159978" y="3360096"/>
            <a:ext cx="46630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/>
              <a:t>Shell New Lenses Scenario</a:t>
            </a:r>
          </a:p>
        </p:txBody>
      </p:sp>
    </p:spTree>
    <p:extLst>
      <p:ext uri="{BB962C8B-B14F-4D97-AF65-F5344CB8AC3E}">
        <p14:creationId xmlns:p14="http://schemas.microsoft.com/office/powerpoint/2010/main" val="29634466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7999" y="125073"/>
            <a:ext cx="11085417" cy="593469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400" b="0" dirty="0"/>
              <a:t>Energy models assume non-energy emissions and cumulative emissions budge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036" y="4867139"/>
            <a:ext cx="4948517" cy="1692771"/>
          </a:xfrm>
          <a:prstGeom prst="rect">
            <a:avLst/>
          </a:prstGeom>
          <a:noFill/>
          <a:ln w="7620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/>
              <a:t>The cumulative emissions (from pre-industrial) budget approximation</a:t>
            </a:r>
          </a:p>
          <a:p>
            <a:r>
              <a:rPr lang="en-US" sz="2800" dirty="0"/>
              <a:t>2</a:t>
            </a:r>
            <a:r>
              <a:rPr lang="en-US" sz="2800" baseline="30000" dirty="0"/>
              <a:t>o</a:t>
            </a:r>
            <a:r>
              <a:rPr lang="en-US" sz="2800" dirty="0"/>
              <a:t>C </a:t>
            </a:r>
            <a:r>
              <a:rPr lang="en-US" sz="2800" dirty="0">
                <a:latin typeface="Symbol" panose="05050102010706020507" pitchFamily="18" charset="2"/>
              </a:rPr>
              <a:t>D</a:t>
            </a:r>
            <a:r>
              <a:rPr lang="en-US" sz="2800" dirty="0"/>
              <a:t>T = 1000 billion tons C-e</a:t>
            </a:r>
          </a:p>
          <a:p>
            <a:r>
              <a:rPr lang="en-US" sz="2800" dirty="0"/>
              <a:t>2</a:t>
            </a:r>
            <a:r>
              <a:rPr lang="en-US" sz="2800" baseline="30000" dirty="0"/>
              <a:t>o</a:t>
            </a:r>
            <a:r>
              <a:rPr lang="en-US" sz="2800" dirty="0"/>
              <a:t>C </a:t>
            </a:r>
            <a:r>
              <a:rPr lang="en-US" sz="2800" dirty="0">
                <a:latin typeface="Symbol" panose="05050102010706020507" pitchFamily="18" charset="2"/>
              </a:rPr>
              <a:t>D</a:t>
            </a:r>
            <a:r>
              <a:rPr lang="en-US" sz="2800" dirty="0"/>
              <a:t>T = 3667 billion tons CO</a:t>
            </a:r>
            <a:r>
              <a:rPr lang="en-US" sz="2800" baseline="-25000" dirty="0"/>
              <a:t>2</a:t>
            </a:r>
            <a:r>
              <a:rPr lang="en-US" sz="2800" dirty="0"/>
              <a:t>-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26297" y="5675841"/>
            <a:ext cx="4920256" cy="4198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0178" y="1109959"/>
            <a:ext cx="10453238" cy="5058535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8681156" y="5525353"/>
            <a:ext cx="3014133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/>
              <a:t>Cumulative C to 2013 </a:t>
            </a:r>
          </a:p>
          <a:p>
            <a:r>
              <a:rPr lang="en-US" sz="2400" dirty="0"/>
              <a:t>= 730 billion tons C</a:t>
            </a:r>
          </a:p>
          <a:p>
            <a:r>
              <a:rPr lang="en-US" sz="2400" dirty="0"/>
              <a:t>= 2677 billion tons CO</a:t>
            </a:r>
            <a:r>
              <a:rPr lang="en-US" sz="2400" baseline="-25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252370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306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ntrations to radiative forc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097061"/>
            <a:ext cx="4756484" cy="5101389"/>
          </a:xfrm>
        </p:spPr>
        <p:txBody>
          <a:bodyPr>
            <a:normAutofit/>
          </a:bodyPr>
          <a:lstStyle/>
          <a:p>
            <a:r>
              <a:rPr lang="en-US" dirty="0"/>
              <a:t>RF is the net change in the energy balance of the Earth system due to some imposed perturbation. It is usually expressed in watts per square meter averaged over a particular period of time and quantifies the energy imbalance that occurs when the imposed change takes place.</a:t>
            </a:r>
          </a:p>
          <a:p>
            <a:endParaRPr lang="en-US" dirty="0"/>
          </a:p>
          <a:p>
            <a:r>
              <a:rPr lang="en-US" dirty="0"/>
              <a:t>Forcing is often presented as the value due to changes between two particular times, such as pre-industrial to present-day, while its time evolution provides a more complete picture.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DBB29B9-E2AF-4C23-879B-4F1D85BFF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259" y="0"/>
            <a:ext cx="464774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39F315D-AFEA-4AA3-9C35-19851D9A2FB5}"/>
                  </a:ext>
                </a:extLst>
              </p:cNvPr>
              <p:cNvSpPr txBox="1"/>
              <p:nvPr/>
            </p:nvSpPr>
            <p:spPr>
              <a:xfrm>
                <a:off x="1653749" y="6059950"/>
                <a:ext cx="266818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5.35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n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⁡(</m:t>
                      </m:r>
                      <m:f>
                        <m:fPr>
                          <m:type m:val="lin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39F315D-AFEA-4AA3-9C35-19851D9A2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3749" y="6059950"/>
                <a:ext cx="2668188" cy="276999"/>
              </a:xfrm>
              <a:prstGeom prst="rect">
                <a:avLst/>
              </a:prstGeom>
              <a:blipFill>
                <a:blip r:embed="rId3"/>
                <a:stretch>
                  <a:fillRect t="-169565" r="-1826" b="-2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DE856EE8-2D4F-4F2A-B892-F5E87BA57900}"/>
              </a:ext>
            </a:extLst>
          </p:cNvPr>
          <p:cNvSpPr txBox="1"/>
          <p:nvPr/>
        </p:nvSpPr>
        <p:spPr>
          <a:xfrm>
            <a:off x="976908" y="5713702"/>
            <a:ext cx="4021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imate forcing from CO</a:t>
            </a:r>
            <a:r>
              <a:rPr lang="en-US" baseline="-25000" dirty="0"/>
              <a:t>2</a:t>
            </a:r>
            <a:r>
              <a:rPr lang="en-US" dirty="0"/>
              <a:t> Concent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AFA562-4D98-412F-B914-8AE5183DF192}"/>
              </a:ext>
            </a:extLst>
          </p:cNvPr>
          <p:cNvSpPr txBox="1"/>
          <p:nvPr/>
        </p:nvSpPr>
        <p:spPr>
          <a:xfrm>
            <a:off x="609600" y="5701268"/>
            <a:ext cx="4859118" cy="763531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333196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CPs and Clim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55110" y="2130014"/>
            <a:ext cx="5246511" cy="4195248"/>
          </a:xfrm>
        </p:spPr>
        <p:txBody>
          <a:bodyPr>
            <a:noAutofit/>
          </a:bodyPr>
          <a:lstStyle/>
          <a:p>
            <a:r>
              <a:rPr lang="en-US" sz="2400" dirty="0"/>
              <a:t>RCPs are defined in terms of “Radiative Forcing” </a:t>
            </a:r>
          </a:p>
          <a:p>
            <a:pPr lvl="1"/>
            <a:r>
              <a:rPr lang="en-US" sz="2000" dirty="0"/>
              <a:t>Units=Watts/Meter^2</a:t>
            </a:r>
          </a:p>
          <a:p>
            <a:pPr lvl="1"/>
            <a:r>
              <a:rPr lang="en-US" sz="2000" dirty="0"/>
              <a:t>Best thought of as an index</a:t>
            </a:r>
          </a:p>
          <a:p>
            <a:pPr lvl="1"/>
            <a:r>
              <a:rPr lang="en-US" sz="2000" dirty="0"/>
              <a:t>0=preindustrial</a:t>
            </a:r>
          </a:p>
          <a:p>
            <a:r>
              <a:rPr lang="en-US" sz="2400" dirty="0"/>
              <a:t>RCP 8.5 = Highest scenario in the literature and keeps rising</a:t>
            </a:r>
          </a:p>
          <a:p>
            <a:r>
              <a:rPr lang="en-US" sz="2400" dirty="0"/>
              <a:t>RCP 6.0 = stabilize climate forcing</a:t>
            </a:r>
          </a:p>
          <a:p>
            <a:r>
              <a:rPr lang="en-US" sz="2400" dirty="0"/>
              <a:t>RCP 4.5 = stabilize climate forcing</a:t>
            </a:r>
          </a:p>
          <a:p>
            <a:r>
              <a:rPr lang="en-US" sz="2400" dirty="0"/>
              <a:t>RCP 2.6 = reduce climate forcing (2 degree scenario)</a:t>
            </a:r>
          </a:p>
          <a:p>
            <a:pPr lvl="2"/>
            <a:endParaRPr lang="en-US" sz="18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507921"/>
            <a:ext cx="4595490" cy="48173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179371" y="305693"/>
            <a:ext cx="5174429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2">
                    <a:lumMod val="75000"/>
                  </a:schemeClr>
                </a:solidFill>
              </a:rPr>
              <a:t>Scenarios are internally consistent representations of potential future developments.</a:t>
            </a:r>
          </a:p>
        </p:txBody>
      </p:sp>
    </p:spTree>
    <p:extLst>
      <p:ext uri="{BB962C8B-B14F-4D97-AF65-F5344CB8AC3E}">
        <p14:creationId xmlns:p14="http://schemas.microsoft.com/office/powerpoint/2010/main" val="3255086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CPs and Clim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33869" y="2975846"/>
            <a:ext cx="3108179" cy="3427942"/>
          </a:xfrm>
        </p:spPr>
        <p:txBody>
          <a:bodyPr>
            <a:normAutofit/>
          </a:bodyPr>
          <a:lstStyle/>
          <a:p>
            <a:r>
              <a:rPr lang="en-US" sz="2400" dirty="0"/>
              <a:t>Created by the Integrated Assessment Modeling Consortium (IAMC)</a:t>
            </a:r>
            <a:endParaRPr lang="en-US" sz="2000" dirty="0"/>
          </a:p>
          <a:p>
            <a:r>
              <a:rPr lang="en-US" sz="2400" dirty="0"/>
              <a:t>For the intergovernmental Panel on climate change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507921"/>
            <a:ext cx="4595490" cy="481734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4504" y="447234"/>
            <a:ext cx="2486907" cy="248690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273492" y="2339113"/>
            <a:ext cx="23856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rgbClr val="FF0000"/>
                </a:solidFill>
              </a:rPr>
              <a:t>MESSAGE/IIAS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81511" y="3546309"/>
            <a:ext cx="14319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</a:rPr>
              <a:t>AIM/N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05062" y="4393503"/>
            <a:ext cx="18293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</a:rPr>
              <a:t>GCAM/PNN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86400" y="5240697"/>
            <a:ext cx="2165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IMAGE/PB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29332" y="948267"/>
            <a:ext cx="249484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Each RCP was developed by a different model in a coordinated process. </a:t>
            </a:r>
            <a:r>
              <a:rPr lang="en-US" sz="2000" b="1" i="1" dirty="0">
                <a:solidFill>
                  <a:schemeClr val="accent2"/>
                </a:solidFill>
              </a:rPr>
              <a:t>(Model/Institution)</a:t>
            </a:r>
          </a:p>
        </p:txBody>
      </p:sp>
    </p:spTree>
    <p:extLst>
      <p:ext uri="{BB962C8B-B14F-4D97-AF65-F5344CB8AC3E}">
        <p14:creationId xmlns:p14="http://schemas.microsoft.com/office/powerpoint/2010/main" val="3883100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08919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ome handy equivalen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</p:nvPr>
        </p:nvGraphicFramePr>
        <p:xfrm>
          <a:off x="5768622" y="1260010"/>
          <a:ext cx="6046441" cy="481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0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2-equivalent (ppm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adiative Forcing (W/m</a:t>
                      </a:r>
                      <a:r>
                        <a:rPr lang="en-US" sz="2400" baseline="30000" dirty="0"/>
                        <a:t>2</a:t>
                      </a:r>
                      <a:r>
                        <a:rPr lang="en-US" sz="2400" baseline="0" dirty="0"/>
                        <a:t>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vg.</a:t>
                      </a:r>
                      <a:r>
                        <a:rPr lang="en-US" sz="2400" baseline="0" dirty="0"/>
                        <a:t> Global Temp. Change Long-term</a:t>
                      </a:r>
                    </a:p>
                    <a:p>
                      <a:pPr algn="ctr"/>
                      <a:r>
                        <a:rPr lang="en-US" sz="2400" baseline="0" dirty="0"/>
                        <a:t>(</a:t>
                      </a:r>
                      <a:r>
                        <a:rPr lang="en-US" sz="2400" baseline="0" dirty="0"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en-US" sz="2400" baseline="0" dirty="0"/>
                        <a:t>T)*</a:t>
                      </a:r>
                      <a:endParaRPr lang="en-US" sz="2400" dirty="0"/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36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8.5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.8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03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7.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5.6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8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.0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.8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.5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3.6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3.7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9</a:t>
                      </a:r>
                      <a:r>
                        <a:rPr lang="en-US" sz="28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6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1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rgbClr val="FF0000"/>
                          </a:solidFill>
                        </a:rPr>
                        <a:t>40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.5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58125" y="1582950"/>
            <a:ext cx="4165431" cy="4057209"/>
          </a:xfrm>
        </p:spPr>
        <p:txBody>
          <a:bodyPr/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is measured in both tons of CO</a:t>
            </a:r>
            <a:r>
              <a:rPr lang="en-US" baseline="-25000" dirty="0"/>
              <a:t>2</a:t>
            </a:r>
            <a:r>
              <a:rPr lang="en-US" dirty="0"/>
              <a:t> and tons of C </a:t>
            </a:r>
          </a:p>
          <a:p>
            <a:r>
              <a:rPr lang="en-US" dirty="0"/>
              <a:t>3.667 ton CO</a:t>
            </a:r>
            <a:r>
              <a:rPr lang="en-US" baseline="-25000" dirty="0"/>
              <a:t>2</a:t>
            </a:r>
            <a:r>
              <a:rPr lang="en-US" dirty="0"/>
              <a:t> = 1 tons C</a:t>
            </a:r>
          </a:p>
          <a:p>
            <a:r>
              <a:rPr lang="en-US" dirty="0"/>
              <a:t>$1/tCO</a:t>
            </a:r>
            <a:r>
              <a:rPr lang="en-US" baseline="-25000" dirty="0"/>
              <a:t>2 </a:t>
            </a:r>
            <a:r>
              <a:rPr lang="en-US" dirty="0"/>
              <a:t>= $3.67/</a:t>
            </a:r>
            <a:r>
              <a:rPr lang="en-US" dirty="0" err="1"/>
              <a:t>tC</a:t>
            </a:r>
            <a:endParaRPr lang="en-US" dirty="0"/>
          </a:p>
          <a:p>
            <a:endParaRPr lang="en-US" dirty="0"/>
          </a:p>
          <a:p>
            <a:endParaRPr lang="en-US" baseline="-25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12" y="3943575"/>
            <a:ext cx="4675181" cy="263143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25912" y="3852554"/>
            <a:ext cx="4675181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Dec 2020 </a:t>
            </a:r>
            <a:r>
              <a:rPr lang="en-US" sz="4400" b="1" dirty="0"/>
              <a:t>414.2</a:t>
            </a:r>
            <a:r>
              <a:rPr lang="en-US" dirty="0"/>
              <a:t> </a:t>
            </a:r>
            <a:r>
              <a:rPr lang="en-US" sz="2800" b="1" dirty="0"/>
              <a:t>PPM </a:t>
            </a:r>
            <a:r>
              <a:rPr lang="en-US" dirty="0"/>
              <a:t>at NOAA’s Mauna Loa Atmospheric Baseline Observato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01655" y="6170565"/>
            <a:ext cx="3099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eindustrial ~280 pp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36444" y="6075850"/>
            <a:ext cx="66786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 Assumes a climate sensitivity of 3</a:t>
            </a:r>
            <a:r>
              <a:rPr lang="en-US" sz="1400" baseline="30000" dirty="0"/>
              <a:t>o</a:t>
            </a:r>
            <a:r>
              <a:rPr lang="en-US" sz="1400" dirty="0"/>
              <a:t>C. Climate sensitivity is the number of degrees the planet would warm in the long term if the concentration of CO</a:t>
            </a:r>
            <a:r>
              <a:rPr lang="en-US" sz="1400" baseline="-25000" dirty="0"/>
              <a:t>2</a:t>
            </a:r>
            <a:r>
              <a:rPr lang="en-US" sz="1400" dirty="0"/>
              <a:t> doubled.</a:t>
            </a:r>
          </a:p>
        </p:txBody>
      </p:sp>
    </p:spTree>
    <p:extLst>
      <p:ext uri="{BB962C8B-B14F-4D97-AF65-F5344CB8AC3E}">
        <p14:creationId xmlns:p14="http://schemas.microsoft.com/office/powerpoint/2010/main" val="3743351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599" y="356613"/>
            <a:ext cx="11013195" cy="67710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4400" b="0" dirty="0"/>
              <a:t>Climate Chang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054249" y="1406273"/>
            <a:ext cx="3155724" cy="5160142"/>
          </a:xfrm>
        </p:spPr>
        <p:txBody>
          <a:bodyPr>
            <a:normAutofit/>
          </a:bodyPr>
          <a:lstStyle/>
          <a:p>
            <a:r>
              <a:rPr lang="en-US" dirty="0"/>
              <a:t>Average Earth temperature ~15</a:t>
            </a:r>
            <a:r>
              <a:rPr lang="en-US" baseline="30000" dirty="0"/>
              <a:t>o</a:t>
            </a:r>
            <a:r>
              <a:rPr lang="en-US" dirty="0"/>
              <a:t>C (59</a:t>
            </a:r>
            <a:r>
              <a:rPr lang="en-US" baseline="30000" dirty="0"/>
              <a:t>o</a:t>
            </a:r>
            <a:r>
              <a:rPr lang="en-US" dirty="0"/>
              <a:t>F)</a:t>
            </a:r>
          </a:p>
          <a:p>
            <a:r>
              <a:rPr lang="en-US" dirty="0"/>
              <a:t>Earth’s black body temperature -23°C (-9.4</a:t>
            </a:r>
            <a:r>
              <a:rPr lang="en-US" baseline="30000" dirty="0"/>
              <a:t>o</a:t>
            </a:r>
            <a:r>
              <a:rPr lang="en-US" dirty="0"/>
              <a:t>F)</a:t>
            </a:r>
          </a:p>
          <a:p>
            <a:r>
              <a:rPr lang="en-US" dirty="0"/>
              <a:t>Gases that change climate forcing include </a:t>
            </a:r>
            <a:r>
              <a:rPr lang="en-US" b="1" dirty="0"/>
              <a:t>H</a:t>
            </a:r>
            <a:r>
              <a:rPr lang="en-US" b="1" baseline="-25000" dirty="0"/>
              <a:t>2</a:t>
            </a:r>
            <a:r>
              <a:rPr lang="en-US" b="1" dirty="0"/>
              <a:t>O</a:t>
            </a:r>
            <a:r>
              <a:rPr lang="en-US" dirty="0"/>
              <a:t>, CO</a:t>
            </a:r>
            <a:r>
              <a:rPr lang="en-US" baseline="-25000" dirty="0"/>
              <a:t>2</a:t>
            </a:r>
            <a:r>
              <a:rPr lang="en-US" dirty="0"/>
              <a:t>, CH</a:t>
            </a:r>
            <a:r>
              <a:rPr lang="en-US" baseline="-25000" dirty="0"/>
              <a:t>4</a:t>
            </a:r>
            <a:r>
              <a:rPr lang="en-US" dirty="0"/>
              <a:t>, N</a:t>
            </a:r>
            <a:r>
              <a:rPr lang="en-US" baseline="-25000" dirty="0"/>
              <a:t>2</a:t>
            </a:r>
            <a:r>
              <a:rPr lang="en-US" dirty="0"/>
              <a:t>O, halons, short-lived forcers, and aerosols.</a:t>
            </a:r>
          </a:p>
          <a:p>
            <a:r>
              <a:rPr lang="en-US" b="1" dirty="0"/>
              <a:t>CO</a:t>
            </a:r>
            <a:r>
              <a:rPr lang="en-US" b="1" baseline="-25000" dirty="0"/>
              <a:t>2</a:t>
            </a:r>
            <a:r>
              <a:rPr lang="en-US" b="1" dirty="0"/>
              <a:t> is the most important human-generated GHG emitte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9973" y="1406274"/>
            <a:ext cx="7982027" cy="54517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0622846" y="5634588"/>
            <a:ext cx="166997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https://royalsociety.org/-/media/Royal_Society_Content/policy/projects/climate-evidence-causes/figb1-large.jpg?la=en-GB&amp;hash=596B576CF5ADAF30D03D1AEFECF26997</a:t>
            </a:r>
          </a:p>
        </p:txBody>
      </p:sp>
    </p:spTree>
    <p:extLst>
      <p:ext uri="{BB962C8B-B14F-4D97-AF65-F5344CB8AC3E}">
        <p14:creationId xmlns:p14="http://schemas.microsoft.com/office/powerpoint/2010/main" val="9828221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225928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RCPs and Clim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320801"/>
            <a:ext cx="10428588" cy="53848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799000" y="1229023"/>
            <a:ext cx="13468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rgbClr val="FF0000"/>
                </a:solidFill>
              </a:rPr>
              <a:t>T&gt;6.5</a:t>
            </a:r>
            <a:r>
              <a:rPr lang="en-US" sz="2400" b="1" baseline="30000" dirty="0">
                <a:solidFill>
                  <a:srgbClr val="FF0000"/>
                </a:solidFill>
              </a:rPr>
              <a:t>o</a:t>
            </a:r>
            <a:r>
              <a:rPr lang="en-US" sz="2400" b="1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622844" y="2415822"/>
            <a:ext cx="1590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6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6"/>
                </a:solidFill>
              </a:rPr>
              <a:t>T&gt; 4.5</a:t>
            </a:r>
            <a:r>
              <a:rPr lang="en-US" sz="2400" b="1" baseline="30000" dirty="0">
                <a:solidFill>
                  <a:schemeClr val="accent6"/>
                </a:solidFill>
              </a:rPr>
              <a:t>o</a:t>
            </a:r>
            <a:r>
              <a:rPr lang="en-US" sz="2400" b="1" dirty="0">
                <a:solidFill>
                  <a:schemeClr val="accent6"/>
                </a:solidFill>
              </a:rPr>
              <a:t>C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014491" y="4962495"/>
            <a:ext cx="1109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T~2</a:t>
            </a:r>
            <a:r>
              <a:rPr lang="en-US" sz="2400" b="1" baseline="30000" dirty="0">
                <a:solidFill>
                  <a:schemeClr val="accent1">
                    <a:lumMod val="50000"/>
                  </a:schemeClr>
                </a:solidFill>
              </a:rPr>
              <a:t>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245601" y="202912"/>
            <a:ext cx="2798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verage Surface Long-term Temperature Change Compared to Pre-Industr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255022" y="3936939"/>
            <a:ext cx="958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2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2"/>
                </a:solidFill>
              </a:rPr>
              <a:t>T&gt; 3.5</a:t>
            </a:r>
            <a:r>
              <a:rPr lang="en-US" sz="2400" b="1" baseline="30000" dirty="0">
                <a:solidFill>
                  <a:schemeClr val="accent2"/>
                </a:solidFill>
              </a:rPr>
              <a:t>o</a:t>
            </a:r>
            <a:r>
              <a:rPr lang="en-US" sz="2400" b="1" dirty="0">
                <a:solidFill>
                  <a:schemeClr val="accent2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6723649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269995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RCPs and Clim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320801"/>
            <a:ext cx="10428588" cy="53848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88622" y="1320801"/>
            <a:ext cx="5170311" cy="5113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027288" y="2092366"/>
            <a:ext cx="43462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/>
              <a:t>The climate simulations come from a different community—</a:t>
            </a:r>
            <a:r>
              <a:rPr lang="en-US" sz="3200" b="1" i="1" dirty="0"/>
              <a:t>climate modeler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288" y="3817483"/>
            <a:ext cx="4199695" cy="192856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799000" y="1229023"/>
            <a:ext cx="13468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rgbClr val="FF0000"/>
                </a:solidFill>
              </a:rPr>
              <a:t>T&gt;6.5</a:t>
            </a:r>
            <a:r>
              <a:rPr lang="en-US" sz="2400" b="1" baseline="30000" dirty="0">
                <a:solidFill>
                  <a:srgbClr val="FF0000"/>
                </a:solidFill>
              </a:rPr>
              <a:t>o</a:t>
            </a:r>
            <a:r>
              <a:rPr lang="en-US" sz="2400" b="1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622844" y="2415822"/>
            <a:ext cx="1590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6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6"/>
                </a:solidFill>
              </a:rPr>
              <a:t>T&gt; 4.5</a:t>
            </a:r>
            <a:r>
              <a:rPr lang="en-US" sz="2400" b="1" baseline="30000" dirty="0">
                <a:solidFill>
                  <a:schemeClr val="accent6"/>
                </a:solidFill>
              </a:rPr>
              <a:t>o</a:t>
            </a:r>
            <a:r>
              <a:rPr lang="en-US" sz="2400" b="1" dirty="0">
                <a:solidFill>
                  <a:schemeClr val="accent6"/>
                </a:solidFill>
              </a:rPr>
              <a:t>C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014491" y="4962495"/>
            <a:ext cx="1109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T~2</a:t>
            </a:r>
            <a:r>
              <a:rPr lang="en-US" sz="2400" b="1" baseline="30000" dirty="0">
                <a:solidFill>
                  <a:schemeClr val="accent1">
                    <a:lumMod val="50000"/>
                  </a:schemeClr>
                </a:solidFill>
              </a:rPr>
              <a:t>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245601" y="202912"/>
            <a:ext cx="2798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verage Surface Long-term Temperature Change Compared to Pre-Industria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55022" y="3936939"/>
            <a:ext cx="958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2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2"/>
                </a:solidFill>
              </a:rPr>
              <a:t>T&gt; 3.5</a:t>
            </a:r>
            <a:r>
              <a:rPr lang="en-US" sz="2400" b="1" baseline="30000" dirty="0">
                <a:solidFill>
                  <a:schemeClr val="accent2"/>
                </a:solidFill>
              </a:rPr>
              <a:t>o</a:t>
            </a:r>
            <a:r>
              <a:rPr lang="en-US" sz="2400" b="1" dirty="0">
                <a:solidFill>
                  <a:schemeClr val="accent2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5704601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442" y="613061"/>
            <a:ext cx="4444316" cy="4639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43088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hared Socioeconomic Pathways (SSPs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86326" y="1333302"/>
            <a:ext cx="4828674" cy="5187813"/>
          </a:xfrm>
        </p:spPr>
        <p:txBody>
          <a:bodyPr>
            <a:normAutofit/>
          </a:bodyPr>
          <a:lstStyle/>
          <a:p>
            <a:pPr>
              <a:buClr>
                <a:schemeClr val="folHlink"/>
              </a:buClr>
            </a:pPr>
            <a:r>
              <a:rPr lang="en-US" sz="3200" dirty="0"/>
              <a:t>SSPs are </a:t>
            </a:r>
            <a:r>
              <a:rPr lang="en-US" sz="3200" b="1" dirty="0"/>
              <a:t>Reference Scenarios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No new climate policies in the future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Defined in terms of Challenges to Mitigation and Challenges to Adaptation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Brian O’Neill (JGCRI) was one of the major architects</a:t>
            </a:r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EBFA39-DA12-40DB-BF7D-C527C5EDB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0070" y="3338623"/>
            <a:ext cx="2464150" cy="351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582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636581"/>
            <a:ext cx="6003758" cy="6267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43088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hared Socioeconomic Pathways (SSPs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86326" y="1333302"/>
            <a:ext cx="4828674" cy="5187813"/>
          </a:xfrm>
        </p:spPr>
        <p:txBody>
          <a:bodyPr>
            <a:normAutofit/>
          </a:bodyPr>
          <a:lstStyle/>
          <a:p>
            <a:pPr>
              <a:buClr>
                <a:schemeClr val="folHlink"/>
              </a:buClr>
            </a:pPr>
            <a:r>
              <a:rPr lang="en-US" sz="3200" dirty="0"/>
              <a:t>SSPs are Reference Scenarios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No new climate policies in the future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Defined in terms of Challenges to Mitigation and Challenges to Adaptation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Brian O’Neill (JGCRI) was one of the major architects</a:t>
            </a:r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B22455-A476-4A84-91CA-B53DA351D8D6}"/>
              </a:ext>
            </a:extLst>
          </p:cNvPr>
          <p:cNvSpPr/>
          <p:nvPr/>
        </p:nvSpPr>
        <p:spPr>
          <a:xfrm>
            <a:off x="6839685" y="5536719"/>
            <a:ext cx="2057400" cy="9810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1: Sustainability</a:t>
            </a:r>
            <a:endParaRPr lang="en-US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64B54E-6961-43A1-B6A1-278ACBD9373F}"/>
              </a:ext>
            </a:extLst>
          </p:cNvPr>
          <p:cNvSpPr/>
          <p:nvPr/>
        </p:nvSpPr>
        <p:spPr>
          <a:xfrm>
            <a:off x="9597189" y="3279728"/>
            <a:ext cx="2033954" cy="91534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2: Middle of the Road</a:t>
            </a:r>
            <a:endParaRPr lang="en-US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DDF0F6-0A4D-49C3-BEBA-7BF43D9D3FA7}"/>
              </a:ext>
            </a:extLst>
          </p:cNvPr>
          <p:cNvSpPr/>
          <p:nvPr/>
        </p:nvSpPr>
        <p:spPr>
          <a:xfrm>
            <a:off x="9351411" y="957002"/>
            <a:ext cx="2057400" cy="98107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3: Fragmentation</a:t>
            </a:r>
            <a:endParaRPr lang="en-US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81B9D5-22C0-455B-AD8B-77ADA3166860}"/>
              </a:ext>
            </a:extLst>
          </p:cNvPr>
          <p:cNvSpPr/>
          <p:nvPr/>
        </p:nvSpPr>
        <p:spPr>
          <a:xfrm>
            <a:off x="9373201" y="5536720"/>
            <a:ext cx="2072640" cy="9810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4: Inequality</a:t>
            </a:r>
            <a:endParaRPr lang="en-US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092E-582B-42DB-8F62-312F01341B2D}"/>
              </a:ext>
            </a:extLst>
          </p:cNvPr>
          <p:cNvSpPr/>
          <p:nvPr/>
        </p:nvSpPr>
        <p:spPr>
          <a:xfrm>
            <a:off x="6839685" y="957002"/>
            <a:ext cx="2057400" cy="981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5: Conventional Developmen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509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43088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with RCP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A879EB-7BD3-4AAF-ACAF-0214A665A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08" y="1789352"/>
            <a:ext cx="11691730" cy="349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736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43088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Emissions and Climat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560C9C-D8EB-4870-9734-7F33B4304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3962" y="1081087"/>
            <a:ext cx="9744075" cy="469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547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43088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Emissions and Clim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C1A10-8EDD-4DBA-9F2A-D8A6FBA12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397" y="890981"/>
            <a:ext cx="9873205" cy="5735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968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35165-519E-4750-B147-F7D78A840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56613"/>
            <a:ext cx="11234237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Limiting climate change to RCP levels in 5 SSP worlds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0EFF8E92-95A8-44A2-B740-445CD3F30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298" y="1134102"/>
            <a:ext cx="8414837" cy="5615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03966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6955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All CO2 EMISSIONS scenarios are alike—They all end at zer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71162"/>
            <a:ext cx="5694947" cy="4351338"/>
          </a:xfrm>
        </p:spPr>
        <p:txBody>
          <a:bodyPr>
            <a:normAutofit lnSpcReduction="10000"/>
          </a:bodyPr>
          <a:lstStyle/>
          <a:p>
            <a:r>
              <a:rPr lang="en-US" sz="2800" dirty="0"/>
              <a:t>CO</a:t>
            </a:r>
            <a:r>
              <a:rPr lang="en-US" sz="2800" baseline="-25000" dirty="0"/>
              <a:t>2</a:t>
            </a:r>
            <a:r>
              <a:rPr lang="en-US" sz="2800" dirty="0"/>
              <a:t> has no atmospheric sink—it doesn’t disappear</a:t>
            </a:r>
          </a:p>
          <a:p>
            <a:r>
              <a:rPr lang="en-US" sz="2800" dirty="0"/>
              <a:t>Carbon that was removed from the atmosphere over millions of years, can only be partitioned between atmosphere, ocean and land</a:t>
            </a:r>
          </a:p>
          <a:p>
            <a:pPr lvl="1"/>
            <a:r>
              <a:rPr lang="en-US" sz="2400" dirty="0"/>
              <a:t>Atmosphere (~20% on average will remain permanently)</a:t>
            </a:r>
          </a:p>
          <a:p>
            <a:pPr lvl="1"/>
            <a:r>
              <a:rPr lang="en-US" sz="2400" dirty="0"/>
              <a:t>Oceans (~80% on average will end up in oceans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529" y="1690688"/>
            <a:ext cx="5151438" cy="396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298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etting to Zero—Five strategy elem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226372" y="1016595"/>
            <a:ext cx="9638852" cy="5181602"/>
          </a:xfrm>
        </p:spPr>
        <p:txBody>
          <a:bodyPr>
            <a:noAutofit/>
          </a:bodyPr>
          <a:lstStyle/>
          <a:p>
            <a:r>
              <a:rPr lang="en-US" sz="2400" dirty="0"/>
              <a:t>Energy efficiency—reduce demand for energy as much as economical</a:t>
            </a:r>
          </a:p>
          <a:p>
            <a:r>
              <a:rPr lang="en-US" sz="2400" dirty="0"/>
              <a:t>Decarbonize power generation</a:t>
            </a:r>
          </a:p>
          <a:p>
            <a:pPr lvl="1"/>
            <a:r>
              <a:rPr lang="en-US" sz="2000" dirty="0"/>
              <a:t>Fossil fuel with CCS</a:t>
            </a:r>
          </a:p>
          <a:p>
            <a:pPr lvl="1"/>
            <a:r>
              <a:rPr lang="en-US" sz="2000" dirty="0"/>
              <a:t>Renewable power</a:t>
            </a:r>
          </a:p>
          <a:p>
            <a:pPr lvl="1"/>
            <a:r>
              <a:rPr lang="en-US" sz="2000" dirty="0"/>
              <a:t>Nuclear power</a:t>
            </a:r>
          </a:p>
          <a:p>
            <a:pPr lvl="1"/>
            <a:r>
              <a:rPr lang="en-US" sz="2000" dirty="0"/>
              <a:t>Bioenergy</a:t>
            </a:r>
          </a:p>
          <a:p>
            <a:pPr lvl="1"/>
            <a:r>
              <a:rPr lang="en-US" sz="2000" dirty="0"/>
              <a:t>Bioenergy with CCS</a:t>
            </a:r>
          </a:p>
          <a:p>
            <a:r>
              <a:rPr lang="en-US" sz="2400" dirty="0"/>
              <a:t>Electrify Buildings and Industry </a:t>
            </a:r>
          </a:p>
          <a:p>
            <a:pPr marL="400050" lvl="1" indent="0">
              <a:buNone/>
            </a:pPr>
            <a:r>
              <a:rPr lang="en-US" sz="2000" dirty="0"/>
              <a:t>as much as economical</a:t>
            </a:r>
          </a:p>
          <a:p>
            <a:r>
              <a:rPr lang="en-US" sz="2400" dirty="0"/>
              <a:t>Decarbonize transport</a:t>
            </a:r>
          </a:p>
          <a:p>
            <a:pPr lvl="1"/>
            <a:r>
              <a:rPr lang="en-US" sz="2000" dirty="0"/>
              <a:t>Electrify</a:t>
            </a:r>
          </a:p>
          <a:p>
            <a:pPr lvl="1"/>
            <a:r>
              <a:rPr lang="en-US" sz="2000" dirty="0"/>
              <a:t>Biofuels</a:t>
            </a:r>
          </a:p>
          <a:p>
            <a:pPr lvl="1"/>
            <a:r>
              <a:rPr lang="en-US" sz="2000" dirty="0"/>
              <a:t>H2</a:t>
            </a:r>
          </a:p>
          <a:p>
            <a:r>
              <a:rPr lang="en-US" sz="2400" dirty="0"/>
              <a:t>Halt deforestation/afforestation and continue improving crop yield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1911" y="1805672"/>
            <a:ext cx="5720089" cy="38079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31654" y="5559659"/>
            <a:ext cx="4800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prstClr val="black"/>
                </a:solidFill>
              </a:rPr>
              <a:t>Source: http://www.energy.gov/science-innovation/energy-sources/renewable-energy/wind</a:t>
            </a:r>
          </a:p>
        </p:txBody>
      </p:sp>
    </p:spTree>
    <p:extLst>
      <p:ext uri="{BB962C8B-B14F-4D97-AF65-F5344CB8AC3E}">
        <p14:creationId xmlns:p14="http://schemas.microsoft.com/office/powerpoint/2010/main" val="3601042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6862063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CO</a:t>
            </a:r>
            <a:r>
              <a:rPr lang="en-US" b="0" baseline="-25000" dirty="0"/>
              <a:t>2</a:t>
            </a:r>
            <a:r>
              <a:rPr lang="en-US" b="0" dirty="0"/>
              <a:t> the last 800,000 yea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48"/>
          <a:stretch/>
        </p:blipFill>
        <p:spPr>
          <a:xfrm>
            <a:off x="-25217" y="1456266"/>
            <a:ext cx="12267490" cy="540173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-15519" y="6590269"/>
            <a:ext cx="75659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ource: https://climate.nasa.gov/news/2535/satellite-data-confirm-annual-carbon-dioxide-minimum-above-400-ppm/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063" y="147817"/>
            <a:ext cx="4675181" cy="263143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862063" y="56796"/>
            <a:ext cx="467518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Jan 30 2023 </a:t>
            </a:r>
            <a:r>
              <a:rPr lang="en-US" sz="4400" b="1" dirty="0"/>
              <a:t>419.7</a:t>
            </a:r>
            <a:r>
              <a:rPr lang="en-US" dirty="0"/>
              <a:t> </a:t>
            </a:r>
            <a:r>
              <a:rPr lang="en-US" sz="2800" b="1" dirty="0"/>
              <a:t>PPM </a:t>
            </a:r>
            <a:r>
              <a:rPr lang="en-US" dirty="0"/>
              <a:t>at NOAA’s Mauna Loa Atmospheric Baseline Observa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245" y="1538664"/>
            <a:ext cx="6647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Vostok</a:t>
            </a:r>
            <a:r>
              <a:rPr lang="en-US" dirty="0">
                <a:solidFill>
                  <a:schemeClr val="bg1"/>
                </a:solidFill>
              </a:rPr>
              <a:t> ice core data/J.R. Petit et al.; NOAA Mauna Loa CO</a:t>
            </a:r>
            <a:r>
              <a:rPr lang="en-US" baseline="-25000" dirty="0">
                <a:solidFill>
                  <a:schemeClr val="bg1"/>
                </a:solidFill>
              </a:rPr>
              <a:t>2</a:t>
            </a:r>
            <a:r>
              <a:rPr lang="en-US" dirty="0">
                <a:solidFill>
                  <a:schemeClr val="bg1"/>
                </a:solidFill>
              </a:rPr>
              <a:t> recor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37806" y="2450113"/>
            <a:ext cx="3099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eindustrial ~280 ppm</a:t>
            </a:r>
          </a:p>
        </p:txBody>
      </p:sp>
    </p:spTree>
    <p:extLst>
      <p:ext uri="{BB962C8B-B14F-4D97-AF65-F5344CB8AC3E}">
        <p14:creationId xmlns:p14="http://schemas.microsoft.com/office/powerpoint/2010/main" val="20578712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802E9-F725-C941-9304-BC8DB6514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en-US" dirty="0"/>
              <a:t>Discuss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F9EE2B-2D71-4E58-A24D-5D784C5E08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81550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heat Sheet for IA</a:t>
            </a:r>
          </a:p>
        </p:txBody>
      </p:sp>
      <p:pic>
        <p:nvPicPr>
          <p:cNvPr id="97283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218" y="1408177"/>
            <a:ext cx="8751564" cy="404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963150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5 Global Energy Use by Fu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1554478"/>
            <a:ext cx="4105656" cy="4800600"/>
          </a:xfrm>
        </p:spPr>
        <p:txBody>
          <a:bodyPr>
            <a:normAutofit/>
          </a:bodyPr>
          <a:lstStyle/>
          <a:p>
            <a:r>
              <a:rPr lang="en-US" dirty="0"/>
              <a:t>Oil = 168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Gas = 9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Coal = 12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Traditional Bioenergy = 2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Commercial and Industrial Bioenergy = 20 EJ/</a:t>
            </a:r>
            <a:r>
              <a:rPr lang="en-US" dirty="0" err="1"/>
              <a:t>yr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086856" y="1554478"/>
            <a:ext cx="4105656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42900" indent="-3429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uclear Power = 26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Hydro Power = 2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Wind Power = 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Solar Power = &lt;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Geothermal Power = 1 EJ/</a:t>
            </a:r>
            <a:r>
              <a:rPr lang="en-US" dirty="0" err="1"/>
              <a:t>y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2395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bon and Climate</a:t>
            </a:r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977" y="1307592"/>
            <a:ext cx="8794048" cy="50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26959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iss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600" y="1099458"/>
            <a:ext cx="10972800" cy="5334000"/>
          </a:xfrm>
        </p:spPr>
        <p:txBody>
          <a:bodyPr>
            <a:normAutofit fontScale="70000" lnSpcReduction="20000"/>
          </a:bodyPr>
          <a:lstStyle/>
          <a:p>
            <a:r>
              <a:rPr lang="en-US" b="1" dirty="0"/>
              <a:t>Year 2005 CO</a:t>
            </a:r>
            <a:r>
              <a:rPr lang="en-US" b="1" baseline="-25000" dirty="0"/>
              <a:t>2</a:t>
            </a:r>
            <a:r>
              <a:rPr lang="en-US" b="1" dirty="0"/>
              <a:t> Equivalent (CO</a:t>
            </a:r>
            <a:r>
              <a:rPr lang="en-US" b="1" baseline="-25000" dirty="0"/>
              <a:t>2</a:t>
            </a:r>
            <a:r>
              <a:rPr lang="en-US" b="1" dirty="0"/>
              <a:t>-e) Concentrations (estimated)</a:t>
            </a:r>
            <a:endParaRPr lang="en-US" dirty="0"/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Kyoto Protocol Gases) = 433 ppm-e</a:t>
            </a:r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Kyoto Protocol Gases &amp; CFCs) = 455 ppm-e</a:t>
            </a:r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Gases and Aerosols) = 382 ppm-e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r>
              <a:rPr lang="en-US" b="1" dirty="0"/>
              <a:t>Average DIRECT Carbon-Intensity of Energy Use by Fuel (estimated)</a:t>
            </a:r>
            <a:endParaRPr lang="en-US" dirty="0"/>
          </a:p>
          <a:p>
            <a:pPr lvl="1"/>
            <a:r>
              <a:rPr lang="en-US" dirty="0"/>
              <a:t>Oil = ~20 KgC/GJ</a:t>
            </a:r>
          </a:p>
          <a:p>
            <a:pPr lvl="1"/>
            <a:r>
              <a:rPr lang="en-US" b="1" dirty="0"/>
              <a:t>Gas = ~14 KgC/GJ</a:t>
            </a:r>
            <a:endParaRPr lang="en-US" dirty="0"/>
          </a:p>
          <a:p>
            <a:pPr lvl="1"/>
            <a:r>
              <a:rPr lang="en-US" dirty="0"/>
              <a:t>Coal = ~27 KgC/GJ</a:t>
            </a:r>
          </a:p>
          <a:p>
            <a:pPr lvl="1"/>
            <a:r>
              <a:rPr lang="en-US" dirty="0"/>
              <a:t>Nuclear, Solar, Wind, Geothermal and other renewable energy forms = ~0 KgC/GJ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r>
              <a:rPr lang="en-US" b="1" dirty="0"/>
              <a:t>2010 Average DIRECT Carbon-Intensity of Energy Use for Selected Countries</a:t>
            </a:r>
            <a:endParaRPr lang="en-US" dirty="0"/>
          </a:p>
          <a:p>
            <a:pPr lvl="1"/>
            <a:r>
              <a:rPr lang="en-US" dirty="0"/>
              <a:t>USA = ~16 KgC/GJ</a:t>
            </a:r>
          </a:p>
          <a:p>
            <a:pPr lvl="1"/>
            <a:r>
              <a:rPr lang="en-US" dirty="0"/>
              <a:t>China = ~24 KgC/GJ (Excluding traditional fuel use)</a:t>
            </a:r>
          </a:p>
          <a:p>
            <a:pPr lvl="1"/>
            <a:r>
              <a:rPr lang="en-US" dirty="0"/>
              <a:t>India = ~20 KgC/GJ (Excluding traditional fuel use)</a:t>
            </a:r>
          </a:p>
          <a:p>
            <a:pPr lvl="1"/>
            <a:r>
              <a:rPr lang="en-US" dirty="0"/>
              <a:t>Western Europe = ~15 KgC/GJ</a:t>
            </a:r>
          </a:p>
          <a:p>
            <a:pPr lvl="1"/>
            <a:r>
              <a:rPr lang="en-US" dirty="0"/>
              <a:t>Africa = ~15 KgC/GJ (Excluding traditional fuel use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Carbon and CO</a:t>
            </a:r>
            <a:r>
              <a:rPr lang="en-US" b="1" baseline="-25000" dirty="0"/>
              <a:t>2</a:t>
            </a:r>
            <a:endParaRPr lang="en-US" dirty="0"/>
          </a:p>
          <a:p>
            <a:pPr lvl="1"/>
            <a:r>
              <a:rPr lang="en-US" dirty="0"/>
              <a:t>1 </a:t>
            </a:r>
            <a:r>
              <a:rPr lang="en-US" dirty="0" err="1"/>
              <a:t>PgC</a:t>
            </a:r>
            <a:r>
              <a:rPr lang="en-US" dirty="0"/>
              <a:t> = 1 </a:t>
            </a:r>
            <a:r>
              <a:rPr lang="en-US" dirty="0" err="1"/>
              <a:t>Petagram</a:t>
            </a:r>
            <a:r>
              <a:rPr lang="en-US" dirty="0"/>
              <a:t> carbon = 10</a:t>
            </a:r>
            <a:r>
              <a:rPr lang="en-US" baseline="30000" dirty="0"/>
              <a:t>15</a:t>
            </a:r>
            <a:r>
              <a:rPr lang="en-US" dirty="0"/>
              <a:t> grams C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PgC</a:t>
            </a:r>
            <a:r>
              <a:rPr lang="en-US" dirty="0"/>
              <a:t> = 1 </a:t>
            </a:r>
            <a:r>
              <a:rPr lang="en-US" dirty="0" err="1"/>
              <a:t>Gigaton</a:t>
            </a:r>
            <a:r>
              <a:rPr lang="en-US" dirty="0"/>
              <a:t> C = 1 </a:t>
            </a:r>
            <a:r>
              <a:rPr lang="en-US" dirty="0" err="1"/>
              <a:t>GtC</a:t>
            </a:r>
            <a:endParaRPr lang="en-US" dirty="0"/>
          </a:p>
          <a:p>
            <a:pPr lvl="1"/>
            <a:r>
              <a:rPr lang="en-US" dirty="0"/>
              <a:t>1 </a:t>
            </a:r>
            <a:r>
              <a:rPr lang="en-US" dirty="0" err="1"/>
              <a:t>tonne</a:t>
            </a:r>
            <a:r>
              <a:rPr lang="en-US" dirty="0"/>
              <a:t> C = 3.67 tonnes CO</a:t>
            </a:r>
            <a:r>
              <a:rPr lang="en-US" baseline="-25000" dirty="0"/>
              <a:t>2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Prices</a:t>
            </a:r>
            <a:endParaRPr lang="en-US" dirty="0"/>
          </a:p>
          <a:p>
            <a:pPr lvl="1"/>
            <a:r>
              <a:rPr lang="en-US" dirty="0"/>
              <a:t>$1/tCO</a:t>
            </a:r>
            <a:r>
              <a:rPr lang="en-US" baseline="-25000" dirty="0"/>
              <a:t>2 </a:t>
            </a:r>
            <a:r>
              <a:rPr lang="en-US" dirty="0"/>
              <a:t>= $3.67/</a:t>
            </a:r>
            <a:r>
              <a:rPr lang="en-US" dirty="0" err="1"/>
              <a:t>tC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71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243685" y="4131104"/>
            <a:ext cx="38792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https://www.ipcc.ch/site/assets/uploads/2018/02/Fig-1.01-01-2.p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892884"/>
            <a:ext cx="3527832" cy="586291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4400" dirty="0">
                <a:latin typeface="Symbol" panose="05050102010706020507" pitchFamily="18" charset="2"/>
              </a:rPr>
              <a:t>D</a:t>
            </a:r>
            <a:r>
              <a:rPr lang="en-US" sz="4400" dirty="0"/>
              <a:t>T ~1.0</a:t>
            </a:r>
            <a:r>
              <a:rPr lang="en-US" sz="4400" baseline="30000" dirty="0"/>
              <a:t>o</a:t>
            </a:r>
            <a:r>
              <a:rPr lang="en-US" sz="4400" dirty="0"/>
              <a:t>C</a:t>
            </a:r>
            <a:br>
              <a:rPr lang="en-US" sz="4400" dirty="0"/>
            </a:br>
            <a:r>
              <a:rPr lang="en-US" sz="4400" dirty="0"/>
              <a:t>(1.8</a:t>
            </a:r>
            <a:r>
              <a:rPr lang="en-US" sz="4400" baseline="30000" dirty="0"/>
              <a:t>o</a:t>
            </a:r>
            <a:r>
              <a:rPr lang="en-US" sz="4400" dirty="0"/>
              <a:t>F) Warming since 1850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ea level rise 20cm (7.9in)</a:t>
            </a:r>
          </a:p>
          <a:p>
            <a:endParaRPr lang="en-US" dirty="0"/>
          </a:p>
          <a:p>
            <a:r>
              <a:rPr lang="en-US" dirty="0"/>
              <a:t>Arctic sea ice reduction</a:t>
            </a:r>
          </a:p>
          <a:p>
            <a:endParaRPr lang="en-US" dirty="0"/>
          </a:p>
          <a:p>
            <a:r>
              <a:rPr lang="en-US" dirty="0"/>
              <a:t>Sea levels were much higher when CO</a:t>
            </a:r>
            <a:r>
              <a:rPr lang="en-US" baseline="-25000" dirty="0"/>
              <a:t>2</a:t>
            </a:r>
            <a:r>
              <a:rPr lang="en-US" dirty="0"/>
              <a:t> concentrations where much higher and the Earth much warmer than toda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386" y="112135"/>
            <a:ext cx="6012628" cy="3116840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6731" y="3228975"/>
            <a:ext cx="5734050" cy="362902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446023" y="6627167"/>
            <a:ext cx="5725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ource: https://qph.fs.quoracdn.net/main-qimg-a6fe08a52dd7b90cf59658764e295cd2-c</a:t>
            </a:r>
          </a:p>
        </p:txBody>
      </p:sp>
    </p:spTree>
    <p:extLst>
      <p:ext uri="{BB962C8B-B14F-4D97-AF65-F5344CB8AC3E}">
        <p14:creationId xmlns:p14="http://schemas.microsoft.com/office/powerpoint/2010/main" val="4073770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2452"/>
            <a:ext cx="11013195" cy="61555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4000" b="0" dirty="0"/>
              <a:t>Fossil fuel and Land-use change emiss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367152"/>
            <a:ext cx="62684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2"/>
              </a:rPr>
              <a:t>https://www.ipcc.ch/report/graphics/index.php?t=Assessment%20Reports&amp;r=AR5%20-%20WG3&amp;f=Technical%20Summary</a:t>
            </a:r>
            <a:r>
              <a:rPr lang="en-US" sz="1100" dirty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646" y="1604928"/>
            <a:ext cx="6304250" cy="4049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617" y="1127316"/>
            <a:ext cx="5472837" cy="538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983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2829" y="740581"/>
            <a:ext cx="7373675" cy="611741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932" y="6003758"/>
            <a:ext cx="21038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://www.iiasa.ac.at/web/home/resources/publications/options/Sustainable.en.html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6753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5060" y="718783"/>
            <a:ext cx="7361880" cy="61392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961" y="292452"/>
            <a:ext cx="10994834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reenhouse gas emissions by economic secto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" y="5900808"/>
            <a:ext cx="229061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s://www.ipcc.ch/report/graphics/index.php?t=Assessment%20Reports&amp;r=AR5%20-%20WG3&amp;f=Technical%20Summary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4605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Leon Template 2014-10-17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NNL Platinum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PNNL Whit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PNNL Whit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PNNL_PowerPoint_Template">
  <a:themeElements>
    <a:clrScheme name="6_PNNL_PowerPoint_Template 11">
      <a:dk1>
        <a:srgbClr val="000000"/>
      </a:dk1>
      <a:lt1>
        <a:srgbClr val="FFFFFF"/>
      </a:lt1>
      <a:dk2>
        <a:srgbClr val="CB7023"/>
      </a:dk2>
      <a:lt2>
        <a:srgbClr val="333333"/>
      </a:lt2>
      <a:accent1>
        <a:srgbClr val="DDDDDD"/>
      </a:accent1>
      <a:accent2>
        <a:srgbClr val="808080"/>
      </a:accent2>
      <a:accent3>
        <a:srgbClr val="FFFFFF"/>
      </a:accent3>
      <a:accent4>
        <a:srgbClr val="000000"/>
      </a:accent4>
      <a:accent5>
        <a:srgbClr val="EBEBEB"/>
      </a:accent5>
      <a:accent6>
        <a:srgbClr val="737373"/>
      </a:accent6>
      <a:hlink>
        <a:srgbClr val="4D4D4D"/>
      </a:hlink>
      <a:folHlink>
        <a:srgbClr val="EAEAEA"/>
      </a:folHlink>
    </a:clrScheme>
    <a:fontScheme name="6_PNNL_PowerPoin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PNNL_PowerPoint_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PNNL_PowerPoint_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8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0000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AAACA"/>
        </a:accent5>
        <a:accent6>
          <a:srgbClr val="E7B900"/>
        </a:accent6>
        <a:hlink>
          <a:srgbClr val="CC3300"/>
        </a:hlink>
        <a:folHlink>
          <a:srgbClr val="8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9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0000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AAACA"/>
        </a:accent5>
        <a:accent6>
          <a:srgbClr val="E7B900"/>
        </a:accent6>
        <a:hlink>
          <a:srgbClr val="006600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10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3366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E7B900"/>
        </a:accent6>
        <a:hlink>
          <a:srgbClr val="008080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11">
        <a:dk1>
          <a:srgbClr val="000000"/>
        </a:dk1>
        <a:lt1>
          <a:srgbClr val="FFFFFF"/>
        </a:lt1>
        <a:dk2>
          <a:srgbClr val="CB7023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on Template 2014-10-17.potx</Template>
  <TotalTime>5125</TotalTime>
  <Words>2922</Words>
  <Application>Microsoft Macintosh PowerPoint</Application>
  <PresentationFormat>Widescreen</PresentationFormat>
  <Paragraphs>417</Paragraphs>
  <Slides>5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54</vt:i4>
      </vt:variant>
    </vt:vector>
  </HeadingPairs>
  <TitlesOfParts>
    <vt:vector size="67" baseType="lpstr">
      <vt:lpstr>ff-more-web-pro</vt:lpstr>
      <vt:lpstr>inherit</vt:lpstr>
      <vt:lpstr>Arial</vt:lpstr>
      <vt:lpstr>Calibri</vt:lpstr>
      <vt:lpstr>Cambria Math</vt:lpstr>
      <vt:lpstr>Source Sans Pro</vt:lpstr>
      <vt:lpstr>Symbol</vt:lpstr>
      <vt:lpstr>Leon Template 2014-10-17</vt:lpstr>
      <vt:lpstr>PNNL Platinum Theme</vt:lpstr>
      <vt:lpstr>PNNL White Theme</vt:lpstr>
      <vt:lpstr>1_PNNL White Theme</vt:lpstr>
      <vt:lpstr>blank</vt:lpstr>
      <vt:lpstr>6_PNNL_PowerPoint_Template</vt:lpstr>
      <vt:lpstr>Foundations of Integrated Assessment Modeling A brief history with examples</vt:lpstr>
      <vt:lpstr>Foundations of Integrated Assessment</vt:lpstr>
      <vt:lpstr>Climate basics</vt:lpstr>
      <vt:lpstr>Climate Change</vt:lpstr>
      <vt:lpstr>CO2 the last 800,000 years</vt:lpstr>
      <vt:lpstr>PowerPoint Presentation</vt:lpstr>
      <vt:lpstr>Fossil fuel and Land-use change emissions</vt:lpstr>
      <vt:lpstr>PowerPoint Presentation</vt:lpstr>
      <vt:lpstr>Greenhouse gas emissions by economic sector</vt:lpstr>
      <vt:lpstr>Carbon Reservoirs</vt:lpstr>
      <vt:lpstr>Fossil Fuel Reserves versus Resources</vt:lpstr>
      <vt:lpstr>A brief comment of greenhouse gases</vt:lpstr>
      <vt:lpstr>The Carbon Cycle</vt:lpstr>
      <vt:lpstr>The Carbon Cycle</vt:lpstr>
      <vt:lpstr>Climate Sensitivity and Average Earth Surface Temperature Change</vt:lpstr>
      <vt:lpstr>Integrated assessment modeling</vt:lpstr>
      <vt:lpstr>Integrated Assessment Models</vt:lpstr>
      <vt:lpstr>Integrated Assessment Models (IAMs) have external inputs and data, a representation of relevant systems and outputs</vt:lpstr>
      <vt:lpstr>Models and Scenarios</vt:lpstr>
      <vt:lpstr>Optimization Models</vt:lpstr>
      <vt:lpstr>Two Major Types of IAMS</vt:lpstr>
      <vt:lpstr>To Major Types of IAMS</vt:lpstr>
      <vt:lpstr>Where did IAMs come from?</vt:lpstr>
      <vt:lpstr>The DICE: the world in 30 Equations</vt:lpstr>
      <vt:lpstr>Nordhaus central problem is cost-benefit</vt:lpstr>
      <vt:lpstr>PowerPoint Presentation</vt:lpstr>
      <vt:lpstr>PowerPoint Presentation</vt:lpstr>
      <vt:lpstr>PowerPoint Presentation</vt:lpstr>
      <vt:lpstr>Highly Detailed IAMS</vt:lpstr>
      <vt:lpstr>GCAM has its roots in the same time frame</vt:lpstr>
      <vt:lpstr>Highly detailed IAMs are developed by interdisciplinary teams</vt:lpstr>
      <vt:lpstr>Fully developed IAMs include all of </vt:lpstr>
      <vt:lpstr>Scenarios are Produced by Models</vt:lpstr>
      <vt:lpstr>Energy models assume non-energy emissions and cumulative emissions budget</vt:lpstr>
      <vt:lpstr>Scenarios</vt:lpstr>
      <vt:lpstr>Concentrations to radiative forcing</vt:lpstr>
      <vt:lpstr>The RCPs and Climate</vt:lpstr>
      <vt:lpstr>The RCPs and Climate</vt:lpstr>
      <vt:lpstr>Some handy equivalents</vt:lpstr>
      <vt:lpstr>RCPs and Climate</vt:lpstr>
      <vt:lpstr>RCPs and Climate</vt:lpstr>
      <vt:lpstr>Shared Socioeconomic Pathways (SSPs)</vt:lpstr>
      <vt:lpstr>Shared Socioeconomic Pathways (SSPs)</vt:lpstr>
      <vt:lpstr>Combining SSPs with RCPs</vt:lpstr>
      <vt:lpstr>Combining SSPs Emissions and Climate</vt:lpstr>
      <vt:lpstr>Combining SSPs Emissions and Climate</vt:lpstr>
      <vt:lpstr>Limiting climate change to RCP levels in 5 SSP worlds</vt:lpstr>
      <vt:lpstr>All CO2 EMISSIONS scenarios are alike—They all end at zero</vt:lpstr>
      <vt:lpstr>Getting to Zero—Five strategy elements</vt:lpstr>
      <vt:lpstr>Discussion</vt:lpstr>
      <vt:lpstr>A Cheat Sheet for IA</vt:lpstr>
      <vt:lpstr>2005 Global Energy Use by Fuel</vt:lpstr>
      <vt:lpstr>Carbon and Climate</vt:lpstr>
      <vt:lpstr>Emis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on</dc:creator>
  <cp:lastModifiedBy>Yiyun Cui</cp:lastModifiedBy>
  <cp:revision>224</cp:revision>
  <dcterms:created xsi:type="dcterms:W3CDTF">2014-10-18T00:01:18Z</dcterms:created>
  <dcterms:modified xsi:type="dcterms:W3CDTF">2023-02-02T04:06:49Z</dcterms:modified>
</cp:coreProperties>
</file>